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notesSlides/notesSlide10.xml" ContentType="application/vnd.openxmlformats-officedocument.presentationml.notesSlide+xml"/>
  <Override PartName="/ppt/tags/tag14.xml" ContentType="application/vnd.openxmlformats-officedocument.presentationml.tags+xml"/>
  <Override PartName="/ppt/notesSlides/notesSlide11.xml" ContentType="application/vnd.openxmlformats-officedocument.presentationml.notesSlide+xml"/>
  <Override PartName="/ppt/tags/tag15.xml" ContentType="application/vnd.openxmlformats-officedocument.presentationml.tags+xml"/>
  <Override PartName="/ppt/notesSlides/notesSlide12.xml" ContentType="application/vnd.openxmlformats-officedocument.presentationml.notesSlide+xml"/>
  <Override PartName="/ppt/tags/tag16.xml" ContentType="application/vnd.openxmlformats-officedocument.presentationml.tags+xml"/>
  <Override PartName="/ppt/notesSlides/notesSlide13.xml" ContentType="application/vnd.openxmlformats-officedocument.presentationml.notesSlide+xml"/>
  <Override PartName="/ppt/tags/tag17.xml" ContentType="application/vnd.openxmlformats-officedocument.presentationml.tags+xml"/>
  <Override PartName="/ppt/notesSlides/notesSlide14.xml" ContentType="application/vnd.openxmlformats-officedocument.presentationml.notesSlide+xml"/>
  <Override PartName="/ppt/tags/tag18.xml" ContentType="application/vnd.openxmlformats-officedocument.presentationml.tags+xml"/>
  <Override PartName="/ppt/notesSlides/notesSlide15.xml" ContentType="application/vnd.openxmlformats-officedocument.presentationml.notesSlide+xml"/>
  <Override PartName="/ppt/tags/tag19.xml" ContentType="application/vnd.openxmlformats-officedocument.presentationml.tags+xml"/>
  <Override PartName="/ppt/notesSlides/notesSlide16.xml" ContentType="application/vnd.openxmlformats-officedocument.presentationml.notesSlide+xml"/>
  <Override PartName="/ppt/tags/tag20.xml" ContentType="application/vnd.openxmlformats-officedocument.presentationml.tags+xml"/>
  <Override PartName="/ppt/notesSlides/notesSlide17.xml" ContentType="application/vnd.openxmlformats-officedocument.presentationml.notesSlide+xml"/>
  <Override PartName="/ppt/tags/tag21.xml" ContentType="application/vnd.openxmlformats-officedocument.presentationml.tags+xml"/>
  <Override PartName="/ppt/notesSlides/notesSlide18.xml" ContentType="application/vnd.openxmlformats-officedocument.presentationml.notesSlide+xml"/>
  <Override PartName="/ppt/tags/tag22.xml" ContentType="application/vnd.openxmlformats-officedocument.presentationml.tags+xml"/>
  <Override PartName="/ppt/notesSlides/notesSlide19.xml" ContentType="application/vnd.openxmlformats-officedocument.presentationml.notesSlide+xml"/>
  <Override PartName="/ppt/tags/tag23.xml" ContentType="application/vnd.openxmlformats-officedocument.presentationml.tags+xml"/>
  <Override PartName="/ppt/notesSlides/notesSlide20.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3"/>
  </p:notesMasterIdLst>
  <p:handoutMasterIdLst>
    <p:handoutMasterId r:id="rId24"/>
  </p:handoutMasterIdLst>
  <p:sldIdLst>
    <p:sldId id="256" r:id="rId2"/>
    <p:sldId id="1742" r:id="rId3"/>
    <p:sldId id="258" r:id="rId4"/>
    <p:sldId id="1767" r:id="rId5"/>
    <p:sldId id="277" r:id="rId6"/>
    <p:sldId id="1747" r:id="rId7"/>
    <p:sldId id="1748" r:id="rId8"/>
    <p:sldId id="1749" r:id="rId9"/>
    <p:sldId id="1750" r:id="rId10"/>
    <p:sldId id="280" r:id="rId11"/>
    <p:sldId id="1768" r:id="rId12"/>
    <p:sldId id="1752" r:id="rId13"/>
    <p:sldId id="275" r:id="rId14"/>
    <p:sldId id="1755" r:id="rId15"/>
    <p:sldId id="1762" r:id="rId16"/>
    <p:sldId id="1758" r:id="rId17"/>
    <p:sldId id="276" r:id="rId18"/>
    <p:sldId id="1769" r:id="rId19"/>
    <p:sldId id="1763" r:id="rId20"/>
    <p:sldId id="286" r:id="rId21"/>
    <p:sldId id="261" r:id="rId22"/>
  </p:sldIdLst>
  <p:sldSz cx="12192000" cy="6858000"/>
  <p:notesSz cx="6858000" cy="9144000"/>
  <p:custDataLst>
    <p:tags r:id="rId25"/>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17171"/>
    <a:srgbClr val="93463B"/>
    <a:srgbClr val="9B0D14"/>
    <a:srgbClr val="191919"/>
    <a:srgbClr val="1F1F1F"/>
    <a:srgbClr val="252525"/>
    <a:srgbClr val="A20000"/>
    <a:srgbClr val="A40000"/>
    <a:srgbClr val="9E0000"/>
    <a:srgbClr val="C7450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6207" autoAdjust="0"/>
    <p:restoredTop sz="86085" autoAdjust="0"/>
  </p:normalViewPr>
  <p:slideViewPr>
    <p:cSldViewPr snapToGrid="0">
      <p:cViewPr varScale="1">
        <p:scale>
          <a:sx n="73" d="100"/>
          <a:sy n="73" d="100"/>
        </p:scale>
        <p:origin x="96" y="187"/>
      </p:cViewPr>
      <p:guideLst/>
    </p:cSldViewPr>
  </p:slideViewPr>
  <p:outlineViewPr>
    <p:cViewPr>
      <p:scale>
        <a:sx n="33" d="100"/>
        <a:sy n="33" d="100"/>
      </p:scale>
      <p:origin x="0" y="-2933"/>
    </p:cViewPr>
  </p:outlineViewPr>
  <p:notesTextViewPr>
    <p:cViewPr>
      <p:scale>
        <a:sx n="3" d="2"/>
        <a:sy n="3" d="2"/>
      </p:scale>
      <p:origin x="0" y="0"/>
    </p:cViewPr>
  </p:notesTextViewPr>
  <p:sorterViewPr>
    <p:cViewPr varScale="1">
      <p:scale>
        <a:sx n="100" d="100"/>
        <a:sy n="100" d="100"/>
      </p:scale>
      <p:origin x="0" y="-5731"/>
    </p:cViewPr>
  </p:sorterViewPr>
  <p:notesViewPr>
    <p:cSldViewPr snapToGrid="0" showGuides="1">
      <p:cViewPr varScale="1">
        <p:scale>
          <a:sx n="69" d="100"/>
          <a:sy n="69" d="100"/>
        </p:scale>
        <p:origin x="3082" y="8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0/12/25</a:t>
            </a:fld>
            <a:endParaRPr lang="zh-CN" altLang="en-US"/>
          </a:p>
        </p:txBody>
      </p:sp>
      <p:sp>
        <p:nvSpPr>
          <p:cNvPr id="4" name="页脚占位符 3">
            <a:extLst>
              <a:ext uri="{FF2B5EF4-FFF2-40B4-BE49-F238E27FC236}">
                <a16:creationId xmlns:a16="http://schemas.microsoft.com/office/drawing/2014/main"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0/12/25</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cmd://Speak/_us_/principle"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cmd://Speak/_us_/isolation"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cmd://Speak/_us_/external"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b="0" i="0" u="none" strike="noStrike" dirty="0">
                <a:solidFill>
                  <a:srgbClr val="A95857"/>
                </a:solidFill>
                <a:effectLst/>
                <a:latin typeface="Helvetica" panose="020B0604020202020204" pitchFamily="34" charset="0"/>
                <a:hlinkClick r:id="rId3"/>
              </a:rPr>
              <a:t>/'</a:t>
            </a:r>
            <a:r>
              <a:rPr lang="en-US" altLang="zh-CN" b="0" i="0" u="none" strike="noStrike" dirty="0" err="1">
                <a:solidFill>
                  <a:srgbClr val="A95857"/>
                </a:solidFill>
                <a:effectLst/>
                <a:latin typeface="Helvetica" panose="020B0604020202020204" pitchFamily="34" charset="0"/>
                <a:hlinkClick r:id="rId3"/>
              </a:rPr>
              <a:t>prɪnsəpl</a:t>
            </a:r>
            <a:r>
              <a:rPr lang="en-US" altLang="zh-CN" b="0" i="0" u="none" strike="noStrike" dirty="0">
                <a:solidFill>
                  <a:srgbClr val="A95857"/>
                </a:solidFill>
                <a:effectLst/>
                <a:latin typeface="Helvetica" panose="020B0604020202020204" pitchFamily="34" charset="0"/>
                <a:hlinkClick r:id="rId3"/>
              </a:rPr>
              <a:t>/</a:t>
            </a:r>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a:t>
            </a:fld>
            <a:endParaRPr lang="zh-CN" altLang="en-US"/>
          </a:p>
        </p:txBody>
      </p:sp>
    </p:spTree>
    <p:extLst>
      <p:ext uri="{BB962C8B-B14F-4D97-AF65-F5344CB8AC3E}">
        <p14:creationId xmlns:p14="http://schemas.microsoft.com/office/powerpoint/2010/main" val="22649285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Blockchain is used in the model primarily to keep a record of every transaction taking place. The smart contracts in blockchain help to enable role-based access control which allows person to perform activities they are given permission.</a:t>
            </a:r>
          </a:p>
          <a:p>
            <a:endParaRPr lang="en-US" altLang="zh-CN" dirty="0"/>
          </a:p>
          <a:p>
            <a:endParaRPr lang="en-US" altLang="zh-CN" dirty="0"/>
          </a:p>
          <a:p>
            <a:endParaRPr lang="en-US" altLang="zh-CN" dirty="0"/>
          </a:p>
          <a:p>
            <a:endParaRPr lang="en-US" altLang="zh-CN" dirty="0"/>
          </a:p>
          <a:p>
            <a:r>
              <a:rPr lang="en-US" altLang="zh-CN" dirty="0"/>
              <a:t>//</a:t>
            </a:r>
          </a:p>
          <a:p>
            <a:r>
              <a:rPr lang="en-US" altLang="zh-CN" dirty="0"/>
              <a:t>To increase scalability, only hash of the data is stored in blockchain while the actual data is stored off chain in IPFS (a distributed file system and storage platform). It is decentralized so there is no single point of failure, and all trust is not put on a single node .</a:t>
            </a:r>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0</a:t>
            </a:fld>
            <a:endParaRPr lang="zh-CN" altLang="en-US"/>
          </a:p>
        </p:txBody>
      </p:sp>
    </p:spTree>
    <p:extLst>
      <p:ext uri="{BB962C8B-B14F-4D97-AF65-F5344CB8AC3E}">
        <p14:creationId xmlns:p14="http://schemas.microsoft.com/office/powerpoint/2010/main" val="6562625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Step1:Send request</a:t>
            </a:r>
            <a:r>
              <a:rPr lang="zh-CN" altLang="en-US" dirty="0"/>
              <a:t>，</a:t>
            </a:r>
            <a:r>
              <a:rPr lang="en-US" altLang="zh-CN" dirty="0"/>
              <a:t>After the sender goes through the first two outer layers of security, Login and Health Parameters Checkup the smart contract checks their authorization roles and privileges. If available, the request is processed and they will be able to send a file.</a:t>
            </a:r>
          </a:p>
          <a:p>
            <a:r>
              <a:rPr lang="en-US" altLang="zh-CN" dirty="0"/>
              <a:t>Step2:The file itself will be </a:t>
            </a:r>
            <a:r>
              <a:rPr lang="en-US" altLang="zh-CN" dirty="0">
                <a:effectLst/>
                <a:latin typeface="Arial" panose="020B0604020202020204" pitchFamily="34" charset="0"/>
              </a:rPr>
              <a:t>encrypted with a symmetric key and stored in IPFS. The corresponding hash of the file, referred to as </a:t>
            </a:r>
            <a:r>
              <a:rPr lang="en-US" altLang="zh-CN" dirty="0" err="1">
                <a:effectLst/>
                <a:latin typeface="Arial" panose="020B0604020202020204" pitchFamily="34" charset="0"/>
              </a:rPr>
              <a:t>ipfshash</a:t>
            </a:r>
            <a:r>
              <a:rPr lang="en-US" altLang="zh-CN" dirty="0">
                <a:effectLst/>
                <a:latin typeface="Arial" panose="020B0604020202020204" pitchFamily="34" charset="0"/>
              </a:rPr>
              <a:t>, is instantly generated. This hash denotes the location of the file in IPFS</a:t>
            </a:r>
          </a:p>
          <a:p>
            <a:r>
              <a:rPr lang="en-US" altLang="zh-CN" dirty="0">
                <a:effectLst/>
                <a:latin typeface="Arial" panose="020B0604020202020204" pitchFamily="34" charset="0"/>
              </a:rPr>
              <a:t>Step 3 (Send </a:t>
            </a:r>
            <a:r>
              <a:rPr lang="en-US" altLang="zh-CN" dirty="0" err="1">
                <a:effectLst/>
                <a:latin typeface="Arial" panose="020B0604020202020204" pitchFamily="34" charset="0"/>
              </a:rPr>
              <a:t>ipfshash</a:t>
            </a:r>
            <a:r>
              <a:rPr lang="en-US" altLang="zh-CN" dirty="0">
                <a:effectLst/>
                <a:latin typeface="Arial" panose="020B0604020202020204" pitchFamily="34" charset="0"/>
              </a:rPr>
              <a:t>) : The generated </a:t>
            </a:r>
            <a:r>
              <a:rPr lang="en-US" altLang="zh-CN" dirty="0" err="1">
                <a:effectLst/>
                <a:latin typeface="Arial" panose="020B0604020202020204" pitchFamily="34" charset="0"/>
              </a:rPr>
              <a:t>ipfshash</a:t>
            </a:r>
            <a:r>
              <a:rPr lang="en-US" altLang="zh-CN" dirty="0">
                <a:effectLst/>
                <a:latin typeface="Arial" panose="020B0604020202020204" pitchFamily="34" charset="0"/>
              </a:rPr>
              <a:t> will be digitally signed with the sender’s private key and then encrypted using the receiver’s public key. A block will be created in the blockchain .</a:t>
            </a:r>
          </a:p>
          <a:p>
            <a:endParaRPr lang="en-US" altLang="zh-CN" dirty="0">
              <a:effectLst/>
              <a:latin typeface="Arial" panose="020B0604020202020204" pitchFamily="34" charset="0"/>
            </a:endParaRPr>
          </a:p>
          <a:p>
            <a:r>
              <a:rPr lang="en-US" altLang="zh-CN" dirty="0">
                <a:effectLst/>
                <a:latin typeface="Arial" panose="020B0604020202020204" pitchFamily="34" charset="0"/>
              </a:rPr>
              <a:t>Next query function</a:t>
            </a:r>
          </a:p>
          <a:p>
            <a:r>
              <a:rPr lang="en-US" altLang="zh-CN" dirty="0">
                <a:effectLst/>
                <a:latin typeface="Arial" panose="020B0604020202020204" pitchFamily="34" charset="0"/>
              </a:rPr>
              <a:t>Step 4 (Request for file) : After the receiver goes through the first two outer layers of security, Login and Two factor authentication, the smart contract compares their authorization roles and privileges. If available, they will be able to request for file retrieval.</a:t>
            </a:r>
          </a:p>
          <a:p>
            <a:r>
              <a:rPr lang="en-US" altLang="zh-CN" dirty="0">
                <a:effectLst/>
                <a:latin typeface="Arial" panose="020B0604020202020204" pitchFamily="34" charset="0"/>
              </a:rPr>
              <a:t> Step 5 (Retrieve </a:t>
            </a:r>
            <a:r>
              <a:rPr lang="en-US" altLang="zh-CN" dirty="0" err="1">
                <a:effectLst/>
                <a:latin typeface="Arial" panose="020B0604020202020204" pitchFamily="34" charset="0"/>
              </a:rPr>
              <a:t>ipfshash</a:t>
            </a:r>
            <a:r>
              <a:rPr lang="en-US" altLang="zh-CN" dirty="0">
                <a:effectLst/>
                <a:latin typeface="Arial" panose="020B0604020202020204" pitchFamily="34" charset="0"/>
              </a:rPr>
              <a:t>) : If the request for file sent by the receiver contains the correct private key, the encrypted </a:t>
            </a:r>
            <a:r>
              <a:rPr lang="en-US" altLang="zh-CN" dirty="0" err="1">
                <a:effectLst/>
                <a:latin typeface="Arial" panose="020B0604020202020204" pitchFamily="34" charset="0"/>
              </a:rPr>
              <a:t>ipfshash</a:t>
            </a:r>
            <a:r>
              <a:rPr lang="en-US" altLang="zh-CN" dirty="0">
                <a:effectLst/>
                <a:latin typeface="Arial" panose="020B0604020202020204" pitchFamily="34" charset="0"/>
              </a:rPr>
              <a:t> retrieved from the blockchain will be decrypted and later verified with the sender’s public key. </a:t>
            </a:r>
          </a:p>
          <a:p>
            <a:r>
              <a:rPr lang="en-US" altLang="zh-CN" dirty="0">
                <a:effectLst/>
                <a:latin typeface="Arial" panose="020B0604020202020204" pitchFamily="34" charset="0"/>
              </a:rPr>
              <a:t>Step 6 (Receive file) : The encrypted file will be retrieved from IPFS with the help of the </a:t>
            </a:r>
            <a:r>
              <a:rPr lang="en-US" altLang="zh-CN" dirty="0" err="1">
                <a:effectLst/>
                <a:latin typeface="Arial" panose="020B0604020202020204" pitchFamily="34" charset="0"/>
              </a:rPr>
              <a:t>ipfshash</a:t>
            </a:r>
            <a:r>
              <a:rPr lang="en-US" altLang="zh-CN" dirty="0">
                <a:effectLst/>
                <a:latin typeface="Arial" panose="020B0604020202020204" pitchFamily="34" charset="0"/>
              </a:rPr>
              <a:t> and later decrypted with the symmetric key. Only then will the user be able to view the file they had requested for, in their end device.</a:t>
            </a:r>
          </a:p>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1</a:t>
            </a:fld>
            <a:endParaRPr lang="zh-CN" altLang="en-US"/>
          </a:p>
        </p:txBody>
      </p:sp>
    </p:spTree>
    <p:extLst>
      <p:ext uri="{BB962C8B-B14F-4D97-AF65-F5344CB8AC3E}">
        <p14:creationId xmlns:p14="http://schemas.microsoft.com/office/powerpoint/2010/main" val="9293289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2</a:t>
            </a:fld>
            <a:endParaRPr lang="zh-CN" altLang="en-US"/>
          </a:p>
        </p:txBody>
      </p:sp>
    </p:spTree>
    <p:extLst>
      <p:ext uri="{BB962C8B-B14F-4D97-AF65-F5344CB8AC3E}">
        <p14:creationId xmlns:p14="http://schemas.microsoft.com/office/powerpoint/2010/main" val="20304229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800" dirty="0">
                <a:latin typeface="宋体" panose="02010600030101010101" pitchFamily="2" charset="-122"/>
                <a:ea typeface="宋体" panose="02010600030101010101" pitchFamily="2" charset="-122"/>
              </a:rPr>
              <a:t>The is the </a:t>
            </a:r>
            <a:r>
              <a:rPr lang="en-US" altLang="zh-CN" dirty="0">
                <a:latin typeface="+mn-lt"/>
                <a:sym typeface="+mn-lt"/>
              </a:rPr>
              <a:t>step that take place when sender wants to send a fil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800" dirty="0">
                <a:latin typeface="宋体" panose="02010600030101010101" pitchFamily="2" charset="-122"/>
                <a:ea typeface="宋体" panose="02010600030101010101" pitchFamily="2" charset="-122"/>
              </a:rPr>
              <a:t>The sender verifies the identity first, and the smart contract will determine whether the sender has the permission to upload the file according to the established rules.</a:t>
            </a:r>
            <a:r>
              <a:rPr lang="en-US" altLang="zh-CN" dirty="0">
                <a:latin typeface="+mn-lt"/>
                <a:sym typeface="+mn-lt"/>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latin typeface="+mn-lt"/>
                <a:sym typeface="+mn-lt"/>
              </a:rPr>
              <a:t>And then </a:t>
            </a:r>
            <a:r>
              <a:rPr lang="en-US" altLang="zh-CN" sz="1800" dirty="0">
                <a:latin typeface="宋体" panose="02010600030101010101" pitchFamily="2" charset="-122"/>
                <a:ea typeface="宋体" panose="02010600030101010101" pitchFamily="2" charset="-122"/>
                <a:sym typeface="+mn-lt"/>
              </a:rPr>
              <a:t>e</a:t>
            </a:r>
            <a:r>
              <a:rPr lang="en-US" altLang="zh-CN" sz="1800" dirty="0">
                <a:latin typeface="宋体" panose="02010600030101010101" pitchFamily="2" charset="-122"/>
                <a:ea typeface="宋体" panose="02010600030101010101" pitchFamily="2" charset="-122"/>
              </a:rPr>
              <a:t>ncrypt it symmetrically and upload it to IPF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800" dirty="0">
                <a:latin typeface="宋体" panose="02010600030101010101" pitchFamily="2" charset="-122"/>
                <a:ea typeface="宋体" panose="02010600030101010101" pitchFamily="2" charset="-122"/>
              </a:rPr>
              <a:t>Finally, the </a:t>
            </a:r>
            <a:r>
              <a:rPr lang="en-US" altLang="zh-CN" sz="1800" dirty="0" err="1">
                <a:latin typeface="宋体" panose="02010600030101010101" pitchFamily="2" charset="-122"/>
                <a:ea typeface="宋体" panose="02010600030101010101" pitchFamily="2" charset="-122"/>
              </a:rPr>
              <a:t>ipfshash</a:t>
            </a:r>
            <a:r>
              <a:rPr lang="en-US" altLang="zh-CN" sz="1800" dirty="0">
                <a:latin typeface="宋体" panose="02010600030101010101" pitchFamily="2" charset="-122"/>
                <a:ea typeface="宋体" panose="02010600030101010101" pitchFamily="2" charset="-122"/>
              </a:rPr>
              <a:t> is signed with the sender's private key, then encrypted with the receiver's public key, and the ciphertext is uploaded to the block chain</a:t>
            </a:r>
            <a:endParaRPr lang="zh-CN" altLang="en-US" sz="1800" dirty="0">
              <a:latin typeface="宋体" panose="02010600030101010101" pitchFamily="2" charset="-122"/>
              <a:ea typeface="宋体" panose="02010600030101010101" pitchFamily="2" charset="-122"/>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sz="1800" dirty="0">
              <a:latin typeface="宋体" panose="02010600030101010101" pitchFamily="2" charset="-122"/>
              <a:ea typeface="宋体" panose="02010600030101010101" pitchFamily="2" charset="-122"/>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zh-CN" altLang="en-US" sz="1800" dirty="0">
              <a:latin typeface="宋体" panose="02010600030101010101" pitchFamily="2" charset="-122"/>
              <a:ea typeface="宋体" panose="02010600030101010101" pitchFamily="2" charset="-122"/>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3</a:t>
            </a:fld>
            <a:endParaRPr lang="zh-CN" altLang="en-US"/>
          </a:p>
        </p:txBody>
      </p:sp>
    </p:spTree>
    <p:extLst>
      <p:ext uri="{BB962C8B-B14F-4D97-AF65-F5344CB8AC3E}">
        <p14:creationId xmlns:p14="http://schemas.microsoft.com/office/powerpoint/2010/main" val="40278897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This is  the steps that take place when receiver wants to retrieve the fil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800" dirty="0">
                <a:latin typeface="宋体" panose="02010600030101010101" pitchFamily="2" charset="-122"/>
                <a:ea typeface="宋体" panose="02010600030101010101" pitchFamily="2" charset="-122"/>
              </a:rPr>
              <a:t>Similarly, verify the permissions first.</a:t>
            </a:r>
            <a:endParaRPr lang="zh-CN" altLang="en-US" sz="1800" dirty="0">
              <a:latin typeface="宋体" panose="02010600030101010101" pitchFamily="2" charset="-122"/>
              <a:ea typeface="宋体" panose="02010600030101010101" pitchFamily="2" charset="-122"/>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And then get the address through id mapping</a:t>
            </a:r>
            <a:r>
              <a:rPr lang="zh-CN" altLang="en-US" dirty="0"/>
              <a:t>，</a:t>
            </a:r>
            <a:r>
              <a:rPr lang="en-US" altLang="zh-CN" dirty="0"/>
              <a:t>and </a:t>
            </a:r>
            <a:r>
              <a:rPr lang="en-US" altLang="zh-CN" sz="1800" dirty="0">
                <a:latin typeface="宋体" panose="02010600030101010101" pitchFamily="2" charset="-122"/>
                <a:ea typeface="宋体" panose="02010600030101010101" pitchFamily="2" charset="-122"/>
              </a:rPr>
              <a:t>get the block chain that holds the data through the address, and then the </a:t>
            </a:r>
            <a:r>
              <a:rPr lang="en-US" altLang="zh-CN" sz="1800" dirty="0" err="1">
                <a:latin typeface="宋体" panose="02010600030101010101" pitchFamily="2" charset="-122"/>
                <a:ea typeface="宋体" panose="02010600030101010101" pitchFamily="2" charset="-122"/>
              </a:rPr>
              <a:t>ipfshash</a:t>
            </a:r>
            <a:r>
              <a:rPr lang="en-US" altLang="zh-CN" sz="1800" dirty="0">
                <a:latin typeface="宋体" panose="02010600030101010101" pitchFamily="2" charset="-122"/>
                <a:ea typeface="宋体" panose="02010600030101010101" pitchFamily="2" charset="-122"/>
              </a:rPr>
              <a:t> is obtained by decrypting the private key.</a:t>
            </a:r>
            <a:endParaRPr lang="en-US" altLang="zh-CN" dirty="0"/>
          </a:p>
          <a:p>
            <a:r>
              <a:rPr lang="en-US" altLang="zh-CN" dirty="0"/>
              <a:t>Finally query files from </a:t>
            </a:r>
            <a:r>
              <a:rPr lang="en-US" altLang="zh-CN" dirty="0" err="1"/>
              <a:t>ipfs</a:t>
            </a:r>
            <a:r>
              <a:rPr lang="en-US" altLang="zh-CN" dirty="0"/>
              <a:t> by the </a:t>
            </a:r>
            <a:r>
              <a:rPr lang="en-US" altLang="zh-CN" dirty="0" err="1"/>
              <a:t>ipfshash</a:t>
            </a:r>
            <a:endParaRPr lang="en-US" altLang="zh-CN" dirty="0"/>
          </a:p>
          <a:p>
            <a:endParaRPr lang="en-US" altLang="zh-CN"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4</a:t>
            </a:fld>
            <a:endParaRPr lang="zh-CN" altLang="en-US"/>
          </a:p>
        </p:txBody>
      </p:sp>
    </p:spTree>
    <p:extLst>
      <p:ext uri="{BB962C8B-B14F-4D97-AF65-F5344CB8AC3E}">
        <p14:creationId xmlns:p14="http://schemas.microsoft.com/office/powerpoint/2010/main" val="25404584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5</a:t>
            </a:fld>
            <a:endParaRPr lang="zh-CN" altLang="en-US"/>
          </a:p>
        </p:txBody>
      </p:sp>
    </p:spTree>
    <p:extLst>
      <p:ext uri="{BB962C8B-B14F-4D97-AF65-F5344CB8AC3E}">
        <p14:creationId xmlns:p14="http://schemas.microsoft.com/office/powerpoint/2010/main" val="6004906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dirty="0">
                <a:latin typeface="宋体" panose="02010600030101010101" pitchFamily="2" charset="-122"/>
                <a:ea typeface="宋体" panose="02010600030101010101" pitchFamily="2" charset="-122"/>
              </a:rPr>
              <a:t>The implemented model is analyzed below to see how it can effectively meet with the above design goals:</a:t>
            </a:r>
            <a:endParaRPr lang="zh-CN" altLang="en-US" sz="1200" dirty="0">
              <a:latin typeface="宋体" panose="02010600030101010101" pitchFamily="2" charset="-122"/>
              <a:ea typeface="宋体" panose="02010600030101010101" pitchFamily="2" charset="-122"/>
            </a:endParaRPr>
          </a:p>
          <a:p>
            <a:endParaRPr lang="zh-CN" altLang="en-US" dirty="0"/>
          </a:p>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6</a:t>
            </a:fld>
            <a:endParaRPr lang="zh-CN" altLang="en-US"/>
          </a:p>
        </p:txBody>
      </p:sp>
    </p:spTree>
    <p:extLst>
      <p:ext uri="{BB962C8B-B14F-4D97-AF65-F5344CB8AC3E}">
        <p14:creationId xmlns:p14="http://schemas.microsoft.com/office/powerpoint/2010/main" val="24286705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7</a:t>
            </a:fld>
            <a:endParaRPr lang="zh-CN" altLang="en-US"/>
          </a:p>
        </p:txBody>
      </p:sp>
    </p:spTree>
    <p:extLst>
      <p:ext uri="{BB962C8B-B14F-4D97-AF65-F5344CB8AC3E}">
        <p14:creationId xmlns:p14="http://schemas.microsoft.com/office/powerpoint/2010/main" val="21449704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File size will affect efficiency</a:t>
            </a:r>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8</a:t>
            </a:fld>
            <a:endParaRPr lang="zh-CN" altLang="en-US"/>
          </a:p>
        </p:txBody>
      </p:sp>
    </p:spTree>
    <p:extLst>
      <p:ext uri="{BB962C8B-B14F-4D97-AF65-F5344CB8AC3E}">
        <p14:creationId xmlns:p14="http://schemas.microsoft.com/office/powerpoint/2010/main" val="25099376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19</a:t>
            </a:fld>
            <a:endParaRPr lang="zh-CN" altLang="en-US"/>
          </a:p>
        </p:txBody>
      </p:sp>
    </p:spTree>
    <p:extLst>
      <p:ext uri="{BB962C8B-B14F-4D97-AF65-F5344CB8AC3E}">
        <p14:creationId xmlns:p14="http://schemas.microsoft.com/office/powerpoint/2010/main" val="25026059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Divided into six parts</a:t>
            </a:r>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2</a:t>
            </a:fld>
            <a:endParaRPr lang="zh-CN" altLang="en-US"/>
          </a:p>
        </p:txBody>
      </p:sp>
    </p:spTree>
    <p:extLst>
      <p:ext uri="{BB962C8B-B14F-4D97-AF65-F5344CB8AC3E}">
        <p14:creationId xmlns:p14="http://schemas.microsoft.com/office/powerpoint/2010/main" val="13150758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I think this model have three shortcoming:</a:t>
            </a:r>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20</a:t>
            </a:fld>
            <a:endParaRPr lang="zh-CN" altLang="en-US"/>
          </a:p>
        </p:txBody>
      </p:sp>
    </p:spTree>
    <p:extLst>
      <p:ext uri="{BB962C8B-B14F-4D97-AF65-F5344CB8AC3E}">
        <p14:creationId xmlns:p14="http://schemas.microsoft.com/office/powerpoint/2010/main" val="21175091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21</a:t>
            </a:fld>
            <a:endParaRPr lang="zh-CN" altLang="en-US"/>
          </a:p>
        </p:txBody>
      </p:sp>
    </p:spTree>
    <p:extLst>
      <p:ext uri="{BB962C8B-B14F-4D97-AF65-F5344CB8AC3E}">
        <p14:creationId xmlns:p14="http://schemas.microsoft.com/office/powerpoint/2010/main" val="11218472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3</a:t>
            </a:fld>
            <a:endParaRPr lang="zh-CN" altLang="en-US"/>
          </a:p>
        </p:txBody>
      </p:sp>
    </p:spTree>
    <p:extLst>
      <p:ext uri="{BB962C8B-B14F-4D97-AF65-F5344CB8AC3E}">
        <p14:creationId xmlns:p14="http://schemas.microsoft.com/office/powerpoint/2010/main" val="24122404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startAt="2"/>
              <a:tabLst/>
              <a:defRPr/>
            </a:pPr>
            <a:r>
              <a:rPr lang="en-US" altLang="zh-CN" sz="1800" dirty="0">
                <a:latin typeface="宋体" panose="02010600030101010101" pitchFamily="2" charset="-122"/>
                <a:ea typeface="宋体" panose="02010600030101010101" pitchFamily="2" charset="-122"/>
              </a:rPr>
              <a:t>Many mature storage solutions have been proposed, but there are still some inevitable problems to be solved.</a:t>
            </a:r>
          </a:p>
          <a:p>
            <a:pPr marL="228600" marR="0" lvl="0" indent="-228600" algn="l" defTabSz="914400" rtl="0" eaLnBrk="1" fontAlgn="auto" latinLnBrk="0" hangingPunct="1">
              <a:lnSpc>
                <a:spcPct val="100000"/>
              </a:lnSpc>
              <a:spcBef>
                <a:spcPts val="0"/>
              </a:spcBef>
              <a:spcAft>
                <a:spcPts val="0"/>
              </a:spcAft>
              <a:buClrTx/>
              <a:buSzTx/>
              <a:buFontTx/>
              <a:buAutoNum type="arabicPeriod" startAt="2"/>
              <a:tabLst/>
              <a:defRPr/>
            </a:pPr>
            <a:r>
              <a:rPr lang="en-US" altLang="zh-CN" sz="1800" dirty="0">
                <a:latin typeface="宋体" panose="02010600030101010101" pitchFamily="2" charset="-122"/>
                <a:ea typeface="宋体" panose="02010600030101010101" pitchFamily="2" charset="-122"/>
              </a:rPr>
              <a:t>There are two cases</a:t>
            </a:r>
            <a:endParaRPr lang="zh-CN" altLang="en-US" sz="1800" dirty="0">
              <a:latin typeface="宋体" panose="02010600030101010101" pitchFamily="2" charset="-122"/>
              <a:ea typeface="宋体" panose="02010600030101010101" pitchFamily="2" charset="-122"/>
            </a:endParaRPr>
          </a:p>
          <a:p>
            <a:pPr marL="228600" indent="-228600">
              <a:buAutoNum type="arabicPeriod" startAt="2"/>
            </a:pPr>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4</a:t>
            </a:fld>
            <a:endParaRPr lang="zh-CN" altLang="en-US"/>
          </a:p>
        </p:txBody>
      </p:sp>
    </p:spTree>
    <p:extLst>
      <p:ext uri="{BB962C8B-B14F-4D97-AF65-F5344CB8AC3E}">
        <p14:creationId xmlns:p14="http://schemas.microsoft.com/office/powerpoint/2010/main" val="10457564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Data security has been a critical topic of research and discussion since the onset of data sharing in e-health system. The traditional hospital network mostly adopts the construction mode of multiple sets of network connection isolation </a:t>
            </a:r>
            <a:r>
              <a:rPr lang="en-US" altLang="zh-CN" b="0" i="0" u="none" strike="noStrike" dirty="0">
                <a:solidFill>
                  <a:srgbClr val="A95857"/>
                </a:solidFill>
                <a:effectLst/>
                <a:latin typeface="Helvetica" panose="020B0604020202020204" pitchFamily="34" charset="0"/>
                <a:hlinkClick r:id="rId3"/>
              </a:rPr>
              <a:t>/ˌ</a:t>
            </a:r>
            <a:r>
              <a:rPr lang="en-US" altLang="zh-CN" b="0" i="0" u="none" strike="noStrike" dirty="0" err="1">
                <a:solidFill>
                  <a:srgbClr val="A95857"/>
                </a:solidFill>
                <a:effectLst/>
                <a:latin typeface="Helvetica" panose="020B0604020202020204" pitchFamily="34" charset="0"/>
                <a:hlinkClick r:id="rId3"/>
              </a:rPr>
              <a:t>aɪsə'leʃən</a:t>
            </a:r>
            <a:r>
              <a:rPr lang="en-US" altLang="zh-CN" b="0" i="0" u="none" strike="noStrike" dirty="0">
                <a:solidFill>
                  <a:srgbClr val="A95857"/>
                </a:solidFill>
                <a:effectLst/>
                <a:latin typeface="Helvetica" panose="020B0604020202020204" pitchFamily="34" charset="0"/>
                <a:hlinkClick r:id="rId3"/>
              </a:rPr>
              <a:t>/</a:t>
            </a:r>
            <a:r>
              <a:rPr lang="en-US" altLang="zh-CN" dirty="0"/>
              <a:t>, such as internal network, external </a:t>
            </a:r>
            <a:r>
              <a:rPr lang="en-US" altLang="zh-CN" b="0" i="0" u="none" strike="noStrike" dirty="0">
                <a:solidFill>
                  <a:srgbClr val="A95857"/>
                </a:solidFill>
                <a:effectLst/>
                <a:latin typeface="Helvetica" panose="020B0604020202020204" pitchFamily="34" charset="0"/>
                <a:hlinkClick r:id="rId4"/>
              </a:rPr>
              <a:t>/</a:t>
            </a:r>
            <a:r>
              <a:rPr lang="en-US" altLang="zh-CN" b="0" i="0" u="none" strike="noStrike" dirty="0" err="1">
                <a:solidFill>
                  <a:srgbClr val="A95857"/>
                </a:solidFill>
                <a:effectLst/>
                <a:latin typeface="Helvetica" panose="020B0604020202020204" pitchFamily="34" charset="0"/>
                <a:hlinkClick r:id="rId4"/>
              </a:rPr>
              <a:t>ɪk'stɝnl</a:t>
            </a:r>
            <a:r>
              <a:rPr lang="en-US" altLang="zh-CN" b="0" i="0" u="none" strike="noStrike" dirty="0">
                <a:solidFill>
                  <a:srgbClr val="A95857"/>
                </a:solidFill>
                <a:effectLst/>
                <a:latin typeface="Helvetica" panose="020B0604020202020204" pitchFamily="34" charset="0"/>
                <a:hlinkClick r:id="rId4"/>
              </a:rPr>
              <a:t>/</a:t>
            </a:r>
            <a:r>
              <a:rPr lang="en-US" altLang="zh-CN" dirty="0"/>
              <a:t> network, intelligent private network and so 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dirty="0">
                <a:latin typeface="宋体" panose="02010600030101010101" pitchFamily="2" charset="-122"/>
                <a:ea typeface="宋体" panose="02010600030101010101" pitchFamily="2" charset="-122"/>
              </a:rPr>
              <a:t>So I summed up three more serious problems.</a:t>
            </a:r>
            <a:endParaRPr lang="zh-CN" altLang="en-US" sz="1200" dirty="0">
              <a:latin typeface="宋体" panose="02010600030101010101" pitchFamily="2" charset="-122"/>
              <a:ea typeface="宋体" panose="02010600030101010101" pitchFamily="2" charset="-122"/>
            </a:endParaRPr>
          </a:p>
          <a:p>
            <a:endParaRPr lang="en-US" altLang="zh-CN" dirty="0"/>
          </a:p>
          <a:p>
            <a:endParaRPr lang="en-US" altLang="zh-CN" dirty="0"/>
          </a:p>
          <a:p>
            <a:r>
              <a:rPr lang="en-US" altLang="zh-CN" dirty="0"/>
              <a:t> //The traditional hospital network architecture relies too much on physical isolation, with the popularity of //electronic medical system, which requires its network to be partially open to the outside world, and the //vulnerability of its network architecture is infinitely magnified, which can be easily broken by hacke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800" dirty="0">
                <a:latin typeface="宋体" panose="02010600030101010101" pitchFamily="2" charset="-122"/>
                <a:ea typeface="宋体" panose="02010600030101010101" pitchFamily="2" charset="-122"/>
              </a:rPr>
              <a:t>So I summed up three more serious problems.</a:t>
            </a:r>
            <a:endParaRPr lang="zh-CN" altLang="en-US" sz="1800" dirty="0">
              <a:latin typeface="宋体" panose="02010600030101010101" pitchFamily="2" charset="-122"/>
              <a:ea typeface="宋体" panose="02010600030101010101" pitchFamily="2" charset="-122"/>
            </a:endParaRPr>
          </a:p>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5</a:t>
            </a:fld>
            <a:endParaRPr lang="zh-CN" altLang="en-US"/>
          </a:p>
        </p:txBody>
      </p:sp>
    </p:spTree>
    <p:extLst>
      <p:ext uri="{BB962C8B-B14F-4D97-AF65-F5344CB8AC3E}">
        <p14:creationId xmlns:p14="http://schemas.microsoft.com/office/powerpoint/2010/main" val="9042425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6</a:t>
            </a:fld>
            <a:endParaRPr lang="zh-CN" altLang="en-US"/>
          </a:p>
        </p:txBody>
      </p:sp>
    </p:spTree>
    <p:extLst>
      <p:ext uri="{BB962C8B-B14F-4D97-AF65-F5344CB8AC3E}">
        <p14:creationId xmlns:p14="http://schemas.microsoft.com/office/powerpoint/2010/main" val="2599732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800" dirty="0">
                <a:latin typeface="宋体" panose="02010600030101010101" pitchFamily="2" charset="-122"/>
                <a:ea typeface="宋体" panose="02010600030101010101" pitchFamily="2" charset="-122"/>
              </a:rPr>
              <a:t>The essence of zero trust is to build a dynamic trusted access control system based on identity between the access subject and the object. Through the key ability of identity as the cornerstone, business security access, continuous trust assessment and dynamic access control, based on the digital identity of all participating entities in the network, all access requests that are not trusted by default are encrypted, authenticated and forcibly authorized. Gather and associate various data sources for continuous trust evaluation, and dynamically adjust the permissions according to the degree of trust, and finally establish a dynamic trust relationship between the access subject and the access object.</a:t>
            </a:r>
          </a:p>
          <a:p>
            <a:r>
              <a:rPr lang="zh-CN" altLang="en-US" sz="1800" dirty="0">
                <a:latin typeface="宋体" panose="02010600030101010101" pitchFamily="2" charset="-122"/>
                <a:ea typeface="宋体" panose="02010600030101010101" pitchFamily="2" charset="-122"/>
              </a:rPr>
              <a:t>零信任的实质是在访问主体和访问客体之间建立基于身份的动态可信访问控制系统。通过身份为基石、业务安全访问、持续信任评估、动态访问控制等关键能力，基于全网所有参与实体的数字身份，对所有默认不可信的访问请求进行加密、认证和强制授权。收集和关联各种数据源进行持续的信任评估，并根据信任度动态调整权限，最终建立访问主体和访问客体之间的动态信任关系。</a:t>
            </a:r>
            <a:endParaRPr lang="en-US" altLang="zh-CN" sz="1800" dirty="0">
              <a:latin typeface="宋体" panose="02010600030101010101" pitchFamily="2" charset="-122"/>
              <a:ea typeface="宋体" panose="02010600030101010101" pitchFamily="2" charset="-122"/>
            </a:endParaRPr>
          </a:p>
          <a:p>
            <a:endParaRPr lang="en-US" altLang="zh-CN" sz="1800" dirty="0">
              <a:latin typeface="宋体" panose="02010600030101010101" pitchFamily="2" charset="-122"/>
              <a:ea typeface="宋体" panose="02010600030101010101" pitchFamily="2" charset="-122"/>
            </a:endParaRPr>
          </a:p>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7</a:t>
            </a:fld>
            <a:endParaRPr lang="zh-CN" altLang="en-US"/>
          </a:p>
        </p:txBody>
      </p:sp>
    </p:spTree>
    <p:extLst>
      <p:ext uri="{BB962C8B-B14F-4D97-AF65-F5344CB8AC3E}">
        <p14:creationId xmlns:p14="http://schemas.microsoft.com/office/powerpoint/2010/main" val="8520966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8</a:t>
            </a:fld>
            <a:endParaRPr lang="zh-CN" altLang="en-US"/>
          </a:p>
        </p:txBody>
      </p:sp>
    </p:spTree>
    <p:extLst>
      <p:ext uri="{BB962C8B-B14F-4D97-AF65-F5344CB8AC3E}">
        <p14:creationId xmlns:p14="http://schemas.microsoft.com/office/powerpoint/2010/main" val="4519047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effectLst/>
                <a:latin typeface="Arial" panose="020B0604020202020204" pitchFamily="34" charset="0"/>
              </a:rPr>
              <a:t>First let’s realize about left</a:t>
            </a:r>
          </a:p>
          <a:p>
            <a:r>
              <a:rPr lang="en-US" altLang="zh-CN" dirty="0">
                <a:effectLst/>
                <a:latin typeface="Arial" panose="020B0604020202020204" pitchFamily="34" charset="0"/>
              </a:rPr>
              <a:t>Login : This provides outermost layer of security which involves authentication of the sender using their login credentials like username and password via their end device, which in this case is the PC connected to the medical imaging device.</a:t>
            </a:r>
          </a:p>
          <a:p>
            <a:r>
              <a:rPr lang="en-US" altLang="zh-CN" dirty="0">
                <a:effectLst/>
                <a:latin typeface="Arial" panose="020B0604020202020204" pitchFamily="34" charset="0"/>
              </a:rPr>
              <a:t>Health Parameter Check : This is the second layer of security which involves checking the health parameter of the sender’s device before sending the data. This helps to detect whether the device is up to date on the latest security patches and precautions. This in turn ensures that the device has not been hacked or compromised.</a:t>
            </a:r>
          </a:p>
          <a:p>
            <a:r>
              <a:rPr lang="en-US" altLang="zh-CN" dirty="0">
                <a:effectLst/>
                <a:latin typeface="Arial" panose="020B0604020202020204" pitchFamily="34" charset="0"/>
              </a:rPr>
              <a:t>Encryption : This is the innermost layer of security which deals with data encryption. After the sender successfully passes the previous two layers, the data to be sent is encrypted with receiver’s public key thus making it accessible only to the intended receiver possessing the key.</a:t>
            </a:r>
          </a:p>
          <a:p>
            <a:endParaRPr lang="en-US" altLang="zh-CN" dirty="0">
              <a:effectLst/>
              <a:latin typeface="Arial" panose="020B0604020202020204" pitchFamily="34" charset="0"/>
            </a:endParaRPr>
          </a:p>
          <a:p>
            <a:r>
              <a:rPr lang="en-US" altLang="zh-CN" dirty="0">
                <a:effectLst/>
                <a:latin typeface="Arial" panose="020B0604020202020204" pitchFamily="34" charset="0"/>
              </a:rPr>
              <a:t>B:</a:t>
            </a:r>
          </a:p>
          <a:p>
            <a:r>
              <a:rPr lang="en-US" altLang="zh-CN" dirty="0">
                <a:effectLst/>
                <a:latin typeface="Arial" panose="020B0604020202020204" pitchFamily="34" charset="0"/>
              </a:rPr>
              <a:t>Login : like on the left</a:t>
            </a:r>
          </a:p>
          <a:p>
            <a:r>
              <a:rPr lang="en-US" altLang="zh-CN" dirty="0">
                <a:effectLst/>
                <a:latin typeface="Arial" panose="020B0604020202020204" pitchFamily="34" charset="0"/>
              </a:rPr>
              <a:t>2FA(Two Factors </a:t>
            </a:r>
            <a:r>
              <a:rPr lang="en-US" altLang="zh-CN" sz="1800" dirty="0">
                <a:latin typeface="宋体" panose="02010600030101010101" pitchFamily="2" charset="-122"/>
                <a:ea typeface="宋体" panose="02010600030101010101" pitchFamily="2" charset="-122"/>
              </a:rPr>
              <a:t>Authentication</a:t>
            </a:r>
            <a:r>
              <a:rPr lang="en-US" altLang="zh-CN" dirty="0">
                <a:effectLst/>
                <a:latin typeface="Arial" panose="020B0604020202020204" pitchFamily="34" charset="0"/>
              </a:rPr>
              <a:t>) : This is the second layer of security which involves undergoing two factor authentication (2FA) in order to enter the system. An authentication app will generate a code, which they must also input in order to gain access. Thus attackers cannot easily access a person’s device or online account because knowing the victim’s password alone is not enough. Two-factor authentication adds this additional layer of security to the authentication process.[????</a:t>
            </a:r>
            <a:r>
              <a:rPr lang="zh-CN" altLang="en-US" dirty="0">
                <a:effectLst/>
                <a:latin typeface="Arial" panose="020B0604020202020204" pitchFamily="34" charset="0"/>
              </a:rPr>
              <a:t>如何让登录者知道生成的密码</a:t>
            </a:r>
            <a:r>
              <a:rPr lang="en-US" altLang="zh-CN" dirty="0">
                <a:effectLst/>
                <a:latin typeface="Arial" panose="020B0604020202020204" pitchFamily="34" charset="0"/>
              </a:rPr>
              <a:t>,==》</a:t>
            </a:r>
            <a:r>
              <a:rPr lang="zh-CN" altLang="en-US" dirty="0">
                <a:effectLst/>
                <a:latin typeface="Arial" panose="020B0604020202020204" pitchFamily="34" charset="0"/>
              </a:rPr>
              <a:t>获取者进行一步类似</a:t>
            </a:r>
            <a:r>
              <a:rPr lang="en-US" altLang="zh-CN" dirty="0">
                <a:effectLst/>
                <a:latin typeface="Arial" panose="020B0604020202020204" pitchFamily="34" charset="0"/>
              </a:rPr>
              <a:t>steam</a:t>
            </a:r>
            <a:r>
              <a:rPr lang="zh-CN" altLang="en-US" dirty="0">
                <a:effectLst/>
                <a:latin typeface="Arial" panose="020B0604020202020204" pitchFamily="34" charset="0"/>
              </a:rPr>
              <a:t>上的手机令牌的方式保证本人</a:t>
            </a:r>
            <a:r>
              <a:rPr lang="en-US" altLang="zh-CN" dirty="0">
                <a:effectLst/>
                <a:latin typeface="Arial" panose="020B0604020202020204" pitchFamily="34" charset="0"/>
              </a:rPr>
              <a:t>】</a:t>
            </a:r>
          </a:p>
          <a:p>
            <a:r>
              <a:rPr lang="en-US" altLang="zh-CN" dirty="0">
                <a:effectLst/>
                <a:latin typeface="Arial" panose="020B0604020202020204" pitchFamily="34" charset="0"/>
              </a:rPr>
              <a:t>Decryption : This is the innermost layer of security which involves decryption of data. After completing the previous two steps, the receiver can view the encrypted data sent to them after decrypting it with their private key. Thus only the receiver can see their data</a:t>
            </a:r>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9</a:t>
            </a:fld>
            <a:endParaRPr lang="zh-CN" altLang="en-US"/>
          </a:p>
        </p:txBody>
      </p:sp>
    </p:spTree>
    <p:extLst>
      <p:ext uri="{BB962C8B-B14F-4D97-AF65-F5344CB8AC3E}">
        <p14:creationId xmlns:p14="http://schemas.microsoft.com/office/powerpoint/2010/main" val="373187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pic>
        <p:nvPicPr>
          <p:cNvPr id="3" name="图片 2">
            <a:extLst>
              <a:ext uri="{FF2B5EF4-FFF2-40B4-BE49-F238E27FC236}">
                <a16:creationId xmlns:a16="http://schemas.microsoft.com/office/drawing/2014/main" id="{C595177F-4D9A-4052-BB2B-1A0940948DE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01550" y="0"/>
            <a:ext cx="15526292" cy="6682481"/>
          </a:xfrm>
          <a:prstGeom prst="rect">
            <a:avLst/>
          </a:prstGeom>
        </p:spPr>
      </p:pic>
      <p:sp>
        <p:nvSpPr>
          <p:cNvPr id="7" name="í$ḻiḑè">
            <a:extLst>
              <a:ext uri="{FF2B5EF4-FFF2-40B4-BE49-F238E27FC236}">
                <a16:creationId xmlns:a16="http://schemas.microsoft.com/office/drawing/2014/main" id="{D426352B-9204-4412-BADA-9D2A8E999BD6}"/>
              </a:ext>
            </a:extLst>
          </p:cNvPr>
          <p:cNvSpPr/>
          <p:nvPr userDrawn="1"/>
        </p:nvSpPr>
        <p:spPr>
          <a:xfrm>
            <a:off x="-2017991" y="0"/>
            <a:ext cx="15942733" cy="6858000"/>
          </a:xfrm>
          <a:prstGeom prst="rect">
            <a:avLst/>
          </a:prstGeom>
          <a:solidFill>
            <a:schemeClr val="accent1">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9801" name="副标题 9800"/>
          <p:cNvSpPr>
            <a:spLocks noGrp="1"/>
          </p:cNvSpPr>
          <p:nvPr userDrawn="1">
            <p:ph type="subTitle" idx="1" hasCustomPrompt="1"/>
          </p:nvPr>
        </p:nvSpPr>
        <p:spPr>
          <a:xfrm>
            <a:off x="1075227" y="4752906"/>
            <a:ext cx="10443671" cy="558799"/>
          </a:xfrm>
        </p:spPr>
        <p:txBody>
          <a:bodyPr vert="horz" lIns="91440" tIns="45720" rIns="91440" bIns="45720" rtlCol="0" anchor="t">
            <a:normAutofit/>
          </a:bodyPr>
          <a:lstStyle>
            <a:lvl1pPr marL="0" indent="0">
              <a:buNone/>
              <a:defRPr lang="en-US" altLang="en-US" sz="2400" b="0" i="0" dirty="0">
                <a:solidFill>
                  <a:schemeClr val="bg2">
                    <a:lumMod val="50000"/>
                    <a:alpha val="76000"/>
                  </a:schemeClr>
                </a:solidFill>
                <a:effectLst/>
                <a:latin typeface="字魂95号-手刻宋" panose="00000500000000000000" pitchFamily="2" charset="-122"/>
                <a:ea typeface="字魂95号-手刻宋" panose="00000500000000000000" pitchFamily="2" charset="-122"/>
              </a:defRPr>
            </a:lvl1pPr>
          </a:lstStyle>
          <a:p>
            <a:pPr marL="228589" lvl="0" indent="-228589" fontAlgn="b">
              <a:spcBef>
                <a:spcPct val="0"/>
              </a:spcBef>
            </a:pPr>
            <a:r>
              <a:rPr lang="en-US" dirty="0"/>
              <a:t>Click to edit Master subtitle style</a:t>
            </a:r>
          </a:p>
        </p:txBody>
      </p:sp>
      <p:sp>
        <p:nvSpPr>
          <p:cNvPr id="9802" name="标题 9801"/>
          <p:cNvSpPr>
            <a:spLocks noGrp="1"/>
          </p:cNvSpPr>
          <p:nvPr userDrawn="1">
            <p:ph type="ctrTitle" hasCustomPrompt="1"/>
          </p:nvPr>
        </p:nvSpPr>
        <p:spPr>
          <a:xfrm>
            <a:off x="1075227" y="1773937"/>
            <a:ext cx="10443671" cy="2406838"/>
          </a:xfrm>
        </p:spPr>
        <p:txBody>
          <a:bodyPr vert="horz" lIns="91440" tIns="45720" rIns="91440" bIns="45720" rtlCol="0" anchor="t">
            <a:noAutofit/>
          </a:bodyPr>
          <a:lstStyle>
            <a:lvl1pPr>
              <a:defRPr lang="zh-CN" altLang="en-US" sz="7200" i="0" dirty="0">
                <a:solidFill>
                  <a:schemeClr val="bg1"/>
                </a:solidFill>
                <a:effectLst/>
                <a:latin typeface="字魂95号-手刻宋" panose="00000500000000000000" pitchFamily="2" charset="-122"/>
                <a:ea typeface="字魂95号-手刻宋" panose="00000500000000000000" pitchFamily="2" charset="-122"/>
                <a:cs typeface="+mn-cs"/>
              </a:defRPr>
            </a:lvl1pPr>
          </a:lstStyle>
          <a:p>
            <a:pPr marL="0" lvl="0" indent="0">
              <a:spcBef>
                <a:spcPts val="1000"/>
              </a:spcBef>
              <a:buFont typeface="Arial" panose="020B0604020202020204" pitchFamily="34" charset="0"/>
            </a:pPr>
            <a:r>
              <a:rPr lang="en-US" dirty="0"/>
              <a:t>Click to edit Master title style</a:t>
            </a:r>
            <a:endParaRPr lang="zh-CN" altLang="en-US" dirty="0"/>
          </a:p>
        </p:txBody>
      </p:sp>
      <p:sp>
        <p:nvSpPr>
          <p:cNvPr id="12" name="文本占位符 11"/>
          <p:cNvSpPr>
            <a:spLocks noGrp="1"/>
          </p:cNvSpPr>
          <p:nvPr userDrawn="1">
            <p:ph type="body" sz="quarter" idx="10" hasCustomPrompt="1"/>
          </p:nvPr>
        </p:nvSpPr>
        <p:spPr>
          <a:xfrm>
            <a:off x="7328584" y="5707967"/>
            <a:ext cx="1834886" cy="296271"/>
          </a:xfrm>
        </p:spPr>
        <p:txBody>
          <a:bodyPr vert="horz" lIns="91440" tIns="45720" rIns="91440" bIns="45720" rtlCol="0" anchor="ctr">
            <a:noAutofit/>
          </a:bodyPr>
          <a:lstStyle>
            <a:lvl1pPr marL="0" indent="0">
              <a:buNone/>
              <a:defRPr lang="en-US" altLang="zh-CN" sz="1400" b="0" dirty="0">
                <a:solidFill>
                  <a:schemeClr val="bg2">
                    <a:lumMod val="50000"/>
                  </a:schemeClr>
                </a:solidFill>
              </a:defRPr>
            </a:lvl1pPr>
          </a:lstStyle>
          <a:p>
            <a:pPr marL="228589" lvl="0" indent="-228589" algn="r"/>
            <a:r>
              <a:rPr lang="en-US" altLang="zh-CN" dirty="0"/>
              <a:t>Signature</a:t>
            </a:r>
          </a:p>
        </p:txBody>
      </p:sp>
      <p:sp>
        <p:nvSpPr>
          <p:cNvPr id="13" name="文本占位符 12"/>
          <p:cNvSpPr>
            <a:spLocks noGrp="1"/>
          </p:cNvSpPr>
          <p:nvPr userDrawn="1">
            <p:ph type="body" sz="quarter" idx="11" hasCustomPrompt="1"/>
          </p:nvPr>
        </p:nvSpPr>
        <p:spPr>
          <a:xfrm>
            <a:off x="9296087" y="5707968"/>
            <a:ext cx="1834886" cy="296271"/>
          </a:xfrm>
        </p:spPr>
        <p:txBody>
          <a:bodyPr vert="horz" lIns="91440" tIns="45720" rIns="91440" bIns="45720" rtlCol="0" anchor="ctr">
            <a:noAutofit/>
          </a:bodyPr>
          <a:lstStyle>
            <a:lvl1pPr marL="0" indent="0">
              <a:buNone/>
              <a:defRPr lang="zh-CN" altLang="en-US" sz="1400" b="0" dirty="0">
                <a:solidFill>
                  <a:schemeClr val="bg2">
                    <a:lumMod val="50000"/>
                  </a:schemeClr>
                </a:solidFill>
              </a:defRPr>
            </a:lvl1pPr>
          </a:lstStyle>
          <a:p>
            <a:pPr marL="228589" lvl="0" indent="-228589" algn="r"/>
            <a:r>
              <a:rPr lang="en-US" altLang="zh-CN" dirty="0"/>
              <a:t>Date</a:t>
            </a:r>
            <a:endParaRPr lang="zh-CN" altLang="en-US" dirty="0"/>
          </a:p>
        </p:txBody>
      </p:sp>
      <p:grpSp>
        <p:nvGrpSpPr>
          <p:cNvPr id="11" name="组合 10">
            <a:extLst>
              <a:ext uri="{FF2B5EF4-FFF2-40B4-BE49-F238E27FC236}">
                <a16:creationId xmlns:a16="http://schemas.microsoft.com/office/drawing/2014/main" id="{125C2271-A26A-4E1E-936A-4D8A4B0A8E6B}"/>
              </a:ext>
            </a:extLst>
          </p:cNvPr>
          <p:cNvGrpSpPr/>
          <p:nvPr userDrawn="1"/>
        </p:nvGrpSpPr>
        <p:grpSpPr>
          <a:xfrm>
            <a:off x="1075228" y="4408319"/>
            <a:ext cx="10041544" cy="1130289"/>
            <a:chOff x="1834745" y="4830893"/>
            <a:chExt cx="3880255" cy="563079"/>
          </a:xfrm>
        </p:grpSpPr>
        <p:cxnSp>
          <p:nvCxnSpPr>
            <p:cNvPr id="14" name="直接连接符 13">
              <a:extLst>
                <a:ext uri="{FF2B5EF4-FFF2-40B4-BE49-F238E27FC236}">
                  <a16:creationId xmlns:a16="http://schemas.microsoft.com/office/drawing/2014/main" id="{DAD30871-F848-4E4C-87FD-CDCCE896675E}"/>
                </a:ext>
              </a:extLst>
            </p:cNvPr>
            <p:cNvCxnSpPr/>
            <p:nvPr/>
          </p:nvCxnSpPr>
          <p:spPr>
            <a:xfrm>
              <a:off x="1834745" y="4830893"/>
              <a:ext cx="3880255" cy="0"/>
            </a:xfrm>
            <a:prstGeom prst="line">
              <a:avLst/>
            </a:prstGeom>
            <a:ln>
              <a:solidFill>
                <a:schemeClr val="bg2">
                  <a:lumMod val="50000"/>
                  <a:alpha val="75000"/>
                </a:schemeClr>
              </a:solidFill>
            </a:ln>
          </p:spPr>
          <p:style>
            <a:lnRef idx="1">
              <a:schemeClr val="accent1"/>
            </a:lnRef>
            <a:fillRef idx="0">
              <a:schemeClr val="accent1"/>
            </a:fillRef>
            <a:effectRef idx="0">
              <a:schemeClr val="accent1"/>
            </a:effectRef>
            <a:fontRef idx="minor">
              <a:schemeClr val="tx1"/>
            </a:fontRef>
          </p:style>
        </p:cxnSp>
        <p:cxnSp>
          <p:nvCxnSpPr>
            <p:cNvPr id="15" name="直接连接符 14">
              <a:extLst>
                <a:ext uri="{FF2B5EF4-FFF2-40B4-BE49-F238E27FC236}">
                  <a16:creationId xmlns:a16="http://schemas.microsoft.com/office/drawing/2014/main" id="{42AB7F7F-32F7-4D2B-B000-C97367238D0E}"/>
                </a:ext>
              </a:extLst>
            </p:cNvPr>
            <p:cNvCxnSpPr/>
            <p:nvPr/>
          </p:nvCxnSpPr>
          <p:spPr>
            <a:xfrm>
              <a:off x="1834745" y="5393972"/>
              <a:ext cx="3880255" cy="0"/>
            </a:xfrm>
            <a:prstGeom prst="line">
              <a:avLst/>
            </a:prstGeom>
            <a:ln>
              <a:solidFill>
                <a:schemeClr val="bg2">
                  <a:lumMod val="50000"/>
                  <a:alpha val="75000"/>
                </a:schemeClr>
              </a:solidFill>
            </a:ln>
          </p:spPr>
          <p:style>
            <a:lnRef idx="1">
              <a:schemeClr val="accent1"/>
            </a:lnRef>
            <a:fillRef idx="0">
              <a:schemeClr val="accent1"/>
            </a:fillRef>
            <a:effectRef idx="0">
              <a:schemeClr val="accent1"/>
            </a:effectRef>
            <a:fontRef idx="minor">
              <a:schemeClr val="tx1"/>
            </a:fontRef>
          </p:style>
        </p:cxnSp>
      </p:grpSp>
      <p:grpSp>
        <p:nvGrpSpPr>
          <p:cNvPr id="79" name="组合 78">
            <a:extLst>
              <a:ext uri="{FF2B5EF4-FFF2-40B4-BE49-F238E27FC236}">
                <a16:creationId xmlns:a16="http://schemas.microsoft.com/office/drawing/2014/main" id="{E91A7195-F9A8-43F7-BAE3-D9791AA4D9F3}"/>
              </a:ext>
            </a:extLst>
          </p:cNvPr>
          <p:cNvGrpSpPr/>
          <p:nvPr userDrawn="1"/>
        </p:nvGrpSpPr>
        <p:grpSpPr>
          <a:xfrm>
            <a:off x="10851573" y="743944"/>
            <a:ext cx="279400" cy="203200"/>
            <a:chOff x="3949700" y="724894"/>
            <a:chExt cx="279400" cy="203200"/>
          </a:xfrm>
        </p:grpSpPr>
        <p:cxnSp>
          <p:nvCxnSpPr>
            <p:cNvPr id="80" name="直接连接符 79">
              <a:extLst>
                <a:ext uri="{FF2B5EF4-FFF2-40B4-BE49-F238E27FC236}">
                  <a16:creationId xmlns:a16="http://schemas.microsoft.com/office/drawing/2014/main" id="{E5358A9F-09DA-4F77-A1E8-DD81B18D4476}"/>
                </a:ext>
              </a:extLst>
            </p:cNvPr>
            <p:cNvCxnSpPr/>
            <p:nvPr/>
          </p:nvCxnSpPr>
          <p:spPr>
            <a:xfrm>
              <a:off x="3949700" y="724894"/>
              <a:ext cx="2794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1" name="直接连接符 80">
              <a:extLst>
                <a:ext uri="{FF2B5EF4-FFF2-40B4-BE49-F238E27FC236}">
                  <a16:creationId xmlns:a16="http://schemas.microsoft.com/office/drawing/2014/main" id="{6A034523-E945-4F42-A998-B45B75C2C963}"/>
                </a:ext>
              </a:extLst>
            </p:cNvPr>
            <p:cNvCxnSpPr/>
            <p:nvPr/>
          </p:nvCxnSpPr>
          <p:spPr>
            <a:xfrm>
              <a:off x="3949700" y="826494"/>
              <a:ext cx="2794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2" name="直接连接符 81">
              <a:extLst>
                <a:ext uri="{FF2B5EF4-FFF2-40B4-BE49-F238E27FC236}">
                  <a16:creationId xmlns:a16="http://schemas.microsoft.com/office/drawing/2014/main" id="{294E96F0-9290-417B-9B76-884C90CF7771}"/>
                </a:ext>
              </a:extLst>
            </p:cNvPr>
            <p:cNvCxnSpPr/>
            <p:nvPr/>
          </p:nvCxnSpPr>
          <p:spPr>
            <a:xfrm>
              <a:off x="3949700" y="928094"/>
              <a:ext cx="2794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grpSp>
      <p:sp>
        <p:nvSpPr>
          <p:cNvPr id="83" name="ïSlíďé">
            <a:extLst>
              <a:ext uri="{FF2B5EF4-FFF2-40B4-BE49-F238E27FC236}">
                <a16:creationId xmlns:a16="http://schemas.microsoft.com/office/drawing/2014/main" id="{A8E1C9F7-AA62-451F-B282-F737D11A9FDC}"/>
              </a:ext>
            </a:extLst>
          </p:cNvPr>
          <p:cNvSpPr/>
          <p:nvPr userDrawn="1"/>
        </p:nvSpPr>
        <p:spPr>
          <a:xfrm>
            <a:off x="1021479" y="3300643"/>
            <a:ext cx="628552" cy="628552"/>
          </a:xfrm>
          <a:prstGeom prst="donut">
            <a:avLst>
              <a:gd name="adj" fmla="val 8705"/>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zh-CN" altLang="en-US" sz="2000">
              <a:solidFill>
                <a:schemeClr val="tx1"/>
              </a:solidFill>
            </a:endParaRPr>
          </a:p>
        </p:txBody>
      </p:sp>
      <p:pic>
        <p:nvPicPr>
          <p:cNvPr id="8" name="图片 7">
            <a:extLst>
              <a:ext uri="{FF2B5EF4-FFF2-40B4-BE49-F238E27FC236}">
                <a16:creationId xmlns:a16="http://schemas.microsoft.com/office/drawing/2014/main" id="{DF2DC8D7-4828-4C91-88F6-90BC328B09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57267" y="3760836"/>
            <a:ext cx="2061631" cy="403026"/>
          </a:xfrm>
          <a:prstGeom prst="rect">
            <a:avLst/>
          </a:prstGeom>
        </p:spPr>
      </p:pic>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20" name="标题 19"/>
          <p:cNvSpPr>
            <a:spLocks noGrp="1"/>
          </p:cNvSpPr>
          <p:nvPr userDrawn="1">
            <p:ph type="title"/>
          </p:nvPr>
        </p:nvSpPr>
        <p:spPr>
          <a:xfrm>
            <a:off x="5348416" y="3468813"/>
            <a:ext cx="5419185" cy="895350"/>
          </a:xfrm>
        </p:spPr>
        <p:txBody>
          <a:bodyPr anchor="b">
            <a:normAutofit/>
          </a:bodyPr>
          <a:lstStyle>
            <a:lvl1pPr algn="l">
              <a:defRPr sz="2400" b="1">
                <a:solidFill>
                  <a:schemeClr val="bg1"/>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5349532" y="4364163"/>
            <a:ext cx="5419185" cy="1015623"/>
          </a:xfrm>
        </p:spPr>
        <p:txBody>
          <a:bodyPr anchor="t">
            <a:normAutofit/>
          </a:bodyPr>
          <a:lstStyle>
            <a:lvl1pPr marL="0" indent="0" algn="l">
              <a:lnSpc>
                <a:spcPct val="150000"/>
              </a:lnSpc>
              <a:spcBef>
                <a:spcPts val="0"/>
              </a:spcBef>
              <a:buNone/>
              <a:defRPr sz="1100">
                <a:solidFill>
                  <a:schemeClr val="bg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pic>
        <p:nvPicPr>
          <p:cNvPr id="7" name="图片 6">
            <a:extLst>
              <a:ext uri="{FF2B5EF4-FFF2-40B4-BE49-F238E27FC236}">
                <a16:creationId xmlns:a16="http://schemas.microsoft.com/office/drawing/2014/main" id="{FD5F3B06-8BF6-41FB-AF5D-ED015389F6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01550" y="0"/>
            <a:ext cx="15526292" cy="6682481"/>
          </a:xfrm>
          <a:prstGeom prst="rect">
            <a:avLst/>
          </a:prstGeom>
        </p:spPr>
      </p:pic>
      <p:sp>
        <p:nvSpPr>
          <p:cNvPr id="9" name="í$ḻiḑè">
            <a:extLst>
              <a:ext uri="{FF2B5EF4-FFF2-40B4-BE49-F238E27FC236}">
                <a16:creationId xmlns:a16="http://schemas.microsoft.com/office/drawing/2014/main" id="{830C4EC3-44FE-4899-BBEB-04D258D48F5E}"/>
              </a:ext>
            </a:extLst>
          </p:cNvPr>
          <p:cNvSpPr/>
          <p:nvPr userDrawn="1"/>
        </p:nvSpPr>
        <p:spPr>
          <a:xfrm>
            <a:off x="-2017991" y="0"/>
            <a:ext cx="15942733" cy="6858000"/>
          </a:xfrm>
          <a:prstGeom prst="rect">
            <a:avLst/>
          </a:prstGeom>
          <a:solidFill>
            <a:schemeClr val="accent1">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日期占位符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bg>
      <p:bgRef idx="1001">
        <a:schemeClr val="bg1"/>
      </p:bgRef>
    </p:bg>
    <p:spTree>
      <p:nvGrpSpPr>
        <p:cNvPr id="1" name=""/>
        <p:cNvGrpSpPr/>
        <p:nvPr/>
      </p:nvGrpSpPr>
      <p:grpSpPr>
        <a:xfrm>
          <a:off x="0" y="0"/>
          <a:ext cx="0" cy="0"/>
          <a:chOff x="0" y="0"/>
          <a:chExt cx="0" cy="0"/>
        </a:xfrm>
      </p:grpSpPr>
      <p:pic>
        <p:nvPicPr>
          <p:cNvPr id="8" name="图片 7">
            <a:extLst>
              <a:ext uri="{FF2B5EF4-FFF2-40B4-BE49-F238E27FC236}">
                <a16:creationId xmlns:a16="http://schemas.microsoft.com/office/drawing/2014/main" id="{C2C114A4-E7F1-46BA-B986-FA72BEF2DD0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0241" y="0"/>
            <a:ext cx="14472480" cy="7324488"/>
          </a:xfrm>
          <a:prstGeom prst="rect">
            <a:avLst/>
          </a:prstGeom>
        </p:spPr>
      </p:pic>
      <p:sp>
        <p:nvSpPr>
          <p:cNvPr id="9" name="í$ḻiḑè">
            <a:extLst>
              <a:ext uri="{FF2B5EF4-FFF2-40B4-BE49-F238E27FC236}">
                <a16:creationId xmlns:a16="http://schemas.microsoft.com/office/drawing/2014/main" id="{11D3D6FD-67C8-45D3-85D7-654F7007D22F}"/>
              </a:ext>
            </a:extLst>
          </p:cNvPr>
          <p:cNvSpPr/>
          <p:nvPr userDrawn="1"/>
        </p:nvSpPr>
        <p:spPr>
          <a:xfrm>
            <a:off x="-1140241" y="-67508"/>
            <a:ext cx="14472480" cy="7459504"/>
          </a:xfrm>
          <a:prstGeom prst="rect">
            <a:avLst/>
          </a:prstGeom>
          <a:solidFill>
            <a:schemeClr val="accent1">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标题 12"/>
          <p:cNvSpPr>
            <a:spLocks noGrp="1"/>
          </p:cNvSpPr>
          <p:nvPr userDrawn="1">
            <p:ph type="ctrTitle" hasCustomPrompt="1"/>
          </p:nvPr>
        </p:nvSpPr>
        <p:spPr>
          <a:xfrm>
            <a:off x="673100" y="1135063"/>
            <a:ext cx="10845798" cy="1621509"/>
          </a:xfrm>
        </p:spPr>
        <p:txBody>
          <a:bodyPr anchor="b">
            <a:normAutofit/>
          </a:bodyPr>
          <a:lstStyle>
            <a:lvl1pPr marL="0" indent="0" algn="ctr">
              <a:buFont typeface="Arial" panose="020B0604020202020204" pitchFamily="34" charset="0"/>
              <a:buNone/>
              <a:defRPr sz="3200">
                <a:solidFill>
                  <a:schemeClr val="bg1"/>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673100" y="3441299"/>
            <a:ext cx="10845798" cy="310871"/>
          </a:xfrm>
        </p:spPr>
        <p:txBody>
          <a:bodyPr vert="horz" lIns="91440" tIns="45720" rIns="91440" bIns="45720" rtlCol="0">
            <a:normAutofit/>
          </a:bodyPr>
          <a:lstStyle>
            <a:lvl1pPr marL="0" indent="0" algn="ctr">
              <a:buNone/>
              <a:defRPr lang="zh-CN" altLang="en-US" sz="14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5">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673102" y="3145028"/>
            <a:ext cx="10845798"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8">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9">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p15:clr>
            <a:srgbClr val="F26B43"/>
          </p15:clr>
        </p15:guide>
        <p15:guide id="2" pos="7257">
          <p15:clr>
            <a:srgbClr val="F26B43"/>
          </p15:clr>
        </p15:guide>
        <p15:guide id="3" orient="horz" pos="648">
          <p15:clr>
            <a:srgbClr val="F26B43"/>
          </p15:clr>
        </p15:guide>
        <p15:guide id="4" orient="horz" pos="712">
          <p15:clr>
            <a:srgbClr val="F26B43"/>
          </p15:clr>
        </p15:guide>
        <p15:guide id="5" orient="horz" pos="3931">
          <p15:clr>
            <a:srgbClr val="F26B43"/>
          </p15:clr>
        </p15:guide>
        <p15:guide id="6" orient="horz" pos="386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3.e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13.xml"/><Relationship Id="rId4" Type="http://schemas.openxmlformats.org/officeDocument/2006/relationships/image" Target="../media/image7.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14.xml"/><Relationship Id="rId4" Type="http://schemas.openxmlformats.org/officeDocument/2006/relationships/image" Target="../media/image8.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15.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17.xml"/><Relationship Id="rId5" Type="http://schemas.openxmlformats.org/officeDocument/2006/relationships/image" Target="../media/image13.png"/><Relationship Id="rId4" Type="http://schemas.openxmlformats.org/officeDocument/2006/relationships/image" Target="../media/image12.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18.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19.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20.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21.xml"/><Relationship Id="rId5" Type="http://schemas.openxmlformats.org/officeDocument/2006/relationships/image" Target="../media/image15.png"/><Relationship Id="rId4" Type="http://schemas.openxmlformats.org/officeDocument/2006/relationships/image" Target="../media/image14.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2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xml"/><Relationship Id="rId1" Type="http://schemas.openxmlformats.org/officeDocument/2006/relationships/tags" Target="../tags/tag5.xml"/><Relationship Id="rId5" Type="http://schemas.openxmlformats.org/officeDocument/2006/relationships/image" Target="../media/image5.jpeg"/><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23.xml"/></Relationships>
</file>

<file path=ppt/slides/_rels/slide2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26.xml"/><Relationship Id="rId7" Type="http://schemas.openxmlformats.org/officeDocument/2006/relationships/image" Target="../media/image3.emf"/><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oleObject" Target="../embeddings/oleObject2.bin"/><Relationship Id="rId5" Type="http://schemas.openxmlformats.org/officeDocument/2006/relationships/notesSlide" Target="../notesSlides/notesSlide21.xml"/><Relationship Id="rId4"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6.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7.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8.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9.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10.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11.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12.xml"/><Relationship Id="rId4"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iśḻïḋè"/>
        <p:cNvGrpSpPr/>
        <p:nvPr/>
      </p:nvGrpSpPr>
      <p:grpSpPr>
        <a:xfrm>
          <a:off x="0" y="0"/>
          <a:ext cx="0" cy="0"/>
          <a:chOff x="0" y="0"/>
          <a:chExt cx="0" cy="0"/>
        </a:xfrm>
      </p:grpSpPr>
      <p:graphicFrame>
        <p:nvGraphicFramePr>
          <p:cNvPr id="3" name="ïṩḻíḋê"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2"/>
            </p:custDataLst>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3" name="ïṩḻíḋê" hidden="1">
                        <a:extLst>
                          <a:ext uri="{FF2B5EF4-FFF2-40B4-BE49-F238E27FC236}">
                            <a16:creationId xmlns:a16="http://schemas.microsoft.com/office/drawing/2014/main" id="{3C326D0B-7DAB-41B6-8030-2E4A18CC949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î$ľïde" hidden="1">
            <a:extLst>
              <a:ext uri="{FF2B5EF4-FFF2-40B4-BE49-F238E27FC236}">
                <a16:creationId xmlns:a16="http://schemas.microsoft.com/office/drawing/2014/main" id="{EC933494-1B63-4A32-964F-D05236799BA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ea typeface="微软雅黑" panose="020B0503020204020204" pitchFamily="34" charset="-122"/>
              <a:cs typeface="+mj-cs"/>
              <a:sym typeface="+mn-lt"/>
            </a:endParaRPr>
          </a:p>
        </p:txBody>
      </p:sp>
      <p:sp>
        <p:nvSpPr>
          <p:cNvPr id="5" name="íşlïďê"/>
          <p:cNvSpPr>
            <a:spLocks noGrp="1"/>
          </p:cNvSpPr>
          <p:nvPr>
            <p:ph type="subTitle" idx="1"/>
          </p:nvPr>
        </p:nvSpPr>
        <p:spPr/>
        <p:txBody>
          <a:bodyPr>
            <a:normAutofit/>
          </a:bodyPr>
          <a:lstStyle/>
          <a:p>
            <a:r>
              <a:rPr lang="zh-CN" altLang="en-US" sz="2400" dirty="0">
                <a:effectLst/>
                <a:latin typeface="+mn-lt"/>
                <a:sym typeface="+mn-lt"/>
              </a:rPr>
              <a:t>致力于开发基于零信任原则和区块链技术的安全医学图像共享系统</a:t>
            </a:r>
            <a:endParaRPr lang="en-US" altLang="zh-CN" sz="3200" dirty="0">
              <a:latin typeface="+mn-lt"/>
              <a:ea typeface="+mn-ea"/>
              <a:sym typeface="+mn-lt"/>
            </a:endParaRPr>
          </a:p>
        </p:txBody>
      </p:sp>
      <p:sp>
        <p:nvSpPr>
          <p:cNvPr id="4" name="ïṣḻídé"/>
          <p:cNvSpPr>
            <a:spLocks noGrp="1"/>
          </p:cNvSpPr>
          <p:nvPr>
            <p:ph type="ctrTitle"/>
          </p:nvPr>
        </p:nvSpPr>
        <p:spPr>
          <a:xfrm>
            <a:off x="1013277" y="1546295"/>
            <a:ext cx="10443671" cy="2133436"/>
          </a:xfrm>
        </p:spPr>
        <p:txBody>
          <a:bodyPr/>
          <a:lstStyle/>
          <a:p>
            <a:pPr>
              <a:lnSpc>
                <a:spcPct val="100000"/>
              </a:lnSpc>
            </a:pPr>
            <a:r>
              <a:rPr lang="en-US" altLang="zh-CN" sz="4000" b="0" dirty="0">
                <a:latin typeface="+mn-lt"/>
                <a:ea typeface="微软雅黑" panose="020B0503020204020204" pitchFamily="34" charset="-122"/>
                <a:sym typeface="+mn-lt"/>
              </a:rPr>
              <a:t>Towards developing a secure medical</a:t>
            </a:r>
            <a:br>
              <a:rPr lang="en-US" altLang="zh-CN" sz="4000" b="0" dirty="0">
                <a:latin typeface="+mn-lt"/>
                <a:ea typeface="微软雅黑" panose="020B0503020204020204" pitchFamily="34" charset="-122"/>
                <a:sym typeface="+mn-lt"/>
              </a:rPr>
            </a:br>
            <a:r>
              <a:rPr lang="en-US" altLang="zh-CN" sz="4000" b="0" dirty="0">
                <a:latin typeface="+mn-lt"/>
                <a:ea typeface="微软雅黑" panose="020B0503020204020204" pitchFamily="34" charset="-122"/>
                <a:sym typeface="+mn-lt"/>
              </a:rPr>
              <a:t>image sharing system based on zero trust</a:t>
            </a:r>
            <a:br>
              <a:rPr lang="en-US" altLang="zh-CN" sz="4000" b="0" dirty="0">
                <a:latin typeface="+mn-lt"/>
                <a:ea typeface="微软雅黑" panose="020B0503020204020204" pitchFamily="34" charset="-122"/>
                <a:sym typeface="+mn-lt"/>
              </a:rPr>
            </a:br>
            <a:r>
              <a:rPr lang="en-US" altLang="zh-CN" sz="4000" b="0" dirty="0">
                <a:latin typeface="+mn-lt"/>
                <a:ea typeface="微软雅黑" panose="020B0503020204020204" pitchFamily="34" charset="-122"/>
                <a:sym typeface="+mn-lt"/>
              </a:rPr>
              <a:t>principles and blockchain technology</a:t>
            </a:r>
            <a:endParaRPr lang="zh-CN" altLang="en-US" sz="4000" b="0" dirty="0">
              <a:latin typeface="+mn-lt"/>
              <a:ea typeface="微软雅黑" panose="020B0503020204020204" pitchFamily="34" charset="-122"/>
              <a:sym typeface="+mn-lt"/>
            </a:endParaRPr>
          </a:p>
        </p:txBody>
      </p:sp>
      <p:sp>
        <p:nvSpPr>
          <p:cNvPr id="6" name="ïṩḷiḓê"/>
          <p:cNvSpPr>
            <a:spLocks noGrp="1"/>
          </p:cNvSpPr>
          <p:nvPr>
            <p:ph type="body" sz="quarter" idx="10"/>
          </p:nvPr>
        </p:nvSpPr>
        <p:spPr/>
        <p:txBody>
          <a:bodyPr/>
          <a:lstStyle/>
          <a:p>
            <a:r>
              <a:rPr lang="en-US" altLang="zh-CN" dirty="0">
                <a:sym typeface="+mn-lt"/>
              </a:rPr>
              <a:t>speaker</a:t>
            </a:r>
            <a:r>
              <a:rPr lang="zh-CN" altLang="en-US" dirty="0">
                <a:sym typeface="+mn-lt"/>
              </a:rPr>
              <a:t>：李超群</a:t>
            </a:r>
            <a:endParaRPr lang="en-US" altLang="zh-CN" dirty="0">
              <a:sym typeface="+mn-lt"/>
            </a:endParaRPr>
          </a:p>
        </p:txBody>
      </p:sp>
      <p:sp>
        <p:nvSpPr>
          <p:cNvPr id="7" name="iśḷïḋé"/>
          <p:cNvSpPr>
            <a:spLocks noGrp="1"/>
          </p:cNvSpPr>
          <p:nvPr>
            <p:ph type="body" sz="quarter" idx="11"/>
          </p:nvPr>
        </p:nvSpPr>
        <p:spPr/>
        <p:txBody>
          <a:bodyPr/>
          <a:lstStyle/>
          <a:p>
            <a:r>
              <a:rPr lang="en-US" altLang="zh-CN" dirty="0">
                <a:sym typeface="+mn-lt"/>
              </a:rPr>
              <a:t>producer </a:t>
            </a:r>
            <a:r>
              <a:rPr lang="zh-CN" altLang="en-US" dirty="0">
                <a:sym typeface="+mn-lt"/>
              </a:rPr>
              <a:t>：李超群</a:t>
            </a:r>
            <a:endParaRPr lang="en-US" altLang="en-US" dirty="0">
              <a:sym typeface="+mn-lt"/>
            </a:endParaRPr>
          </a:p>
        </p:txBody>
      </p:sp>
      <p:sp>
        <p:nvSpPr>
          <p:cNvPr id="315" name="îSḷîḓe">
            <a:extLst>
              <a:ext uri="{FF2B5EF4-FFF2-40B4-BE49-F238E27FC236}">
                <a16:creationId xmlns:a16="http://schemas.microsoft.com/office/drawing/2014/main" id="{73284166-517E-4DA3-B547-087B1DC3D9E4}"/>
              </a:ext>
            </a:extLst>
          </p:cNvPr>
          <p:cNvSpPr txBox="1"/>
          <p:nvPr/>
        </p:nvSpPr>
        <p:spPr>
          <a:xfrm>
            <a:off x="1144183" y="695488"/>
            <a:ext cx="2676071" cy="369332"/>
          </a:xfrm>
          <a:prstGeom prst="rect">
            <a:avLst/>
          </a:prstGeom>
          <a:noFill/>
        </p:spPr>
        <p:txBody>
          <a:bodyPr wrap="square">
            <a:spAutoFit/>
          </a:bodyPr>
          <a:lstStyle/>
          <a:p>
            <a:r>
              <a:rPr lang="zh-CN" altLang="en-US" dirty="0">
                <a:solidFill>
                  <a:schemeClr val="accent2"/>
                </a:solidFill>
                <a:ea typeface="华文中宋" panose="02010600040101010101" pitchFamily="2" charset="-122"/>
                <a:cs typeface="Arial" panose="020B0604020202020204" pitchFamily="34" charset="0"/>
                <a:sym typeface="+mn-lt"/>
              </a:rPr>
              <a:t>学无止境，气有浩然</a:t>
            </a:r>
          </a:p>
        </p:txBody>
      </p:sp>
      <p:sp>
        <p:nvSpPr>
          <p:cNvPr id="85" name="iSľiḍé">
            <a:extLst>
              <a:ext uri="{FF2B5EF4-FFF2-40B4-BE49-F238E27FC236}">
                <a16:creationId xmlns:a16="http://schemas.microsoft.com/office/drawing/2014/main" id="{EA8068C2-61BD-41BD-AC53-369B4A66D32D}"/>
              </a:ext>
            </a:extLst>
          </p:cNvPr>
          <p:cNvSpPr txBox="1">
            <a:spLocks/>
          </p:cNvSpPr>
          <p:nvPr/>
        </p:nvSpPr>
        <p:spPr>
          <a:xfrm>
            <a:off x="4869311" y="1865611"/>
            <a:ext cx="628466" cy="953346"/>
          </a:xfrm>
          <a:prstGeom prst="rect">
            <a:avLst/>
          </a:prstGeom>
        </p:spPr>
        <p:txBody>
          <a:bodyPr vert="horz" lIns="91440" tIns="45720" rIns="91440" bIns="45720" rtlCol="0" anchor="t">
            <a:noAutofit/>
          </a:bodyPr>
          <a:lstStyle>
            <a:lvl1pPr marL="0" indent="0" algn="r" defTabSz="914354" rtl="0" eaLnBrk="1" latinLnBrk="0" hangingPunct="1">
              <a:lnSpc>
                <a:spcPct val="90000"/>
              </a:lnSpc>
              <a:spcBef>
                <a:spcPts val="1000"/>
              </a:spcBef>
              <a:buFont typeface="Arial" panose="020B0604020202020204" pitchFamily="34" charset="0"/>
              <a:buNone/>
              <a:defRPr sz="1600" kern="1200">
                <a:solidFill>
                  <a:schemeClr val="accent1"/>
                </a:solidFill>
                <a:latin typeface="+mn-lt"/>
                <a:ea typeface="+mn-ea"/>
                <a:cs typeface="+mn-cs"/>
              </a:defRPr>
            </a:lvl1pPr>
            <a:lvl2pPr marL="457178" indent="0" algn="ctr" defTabSz="914354"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354" indent="0" algn="ctr" defTabSz="914354"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532"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709"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5886"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062"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240"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418"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endParaRPr lang="en-US" altLang="zh-CN" sz="7200" b="1" dirty="0">
              <a:solidFill>
                <a:schemeClr val="bg1"/>
              </a:solidFill>
              <a:ea typeface="宋体" panose="02010600030101010101" pitchFamily="2" charset="-122"/>
              <a:sym typeface="+mn-lt"/>
            </a:endParaRPr>
          </a:p>
        </p:txBody>
      </p:sp>
      <p:sp>
        <p:nvSpPr>
          <p:cNvPr id="86" name="ïśḷîḍê">
            <a:extLst>
              <a:ext uri="{FF2B5EF4-FFF2-40B4-BE49-F238E27FC236}">
                <a16:creationId xmlns:a16="http://schemas.microsoft.com/office/drawing/2014/main" id="{588799E2-7FC2-428B-992B-93B409E1AFF4}"/>
              </a:ext>
            </a:extLst>
          </p:cNvPr>
          <p:cNvSpPr txBox="1">
            <a:spLocks/>
          </p:cNvSpPr>
          <p:nvPr/>
        </p:nvSpPr>
        <p:spPr>
          <a:xfrm>
            <a:off x="4784706" y="2896877"/>
            <a:ext cx="628466" cy="953346"/>
          </a:xfrm>
          <a:prstGeom prst="rect">
            <a:avLst/>
          </a:prstGeom>
        </p:spPr>
        <p:txBody>
          <a:bodyPr vert="horz" lIns="91440" tIns="45720" rIns="91440" bIns="45720" rtlCol="0" anchor="t">
            <a:noAutofit/>
          </a:bodyPr>
          <a:lstStyle>
            <a:lvl1pPr marL="0" indent="0" algn="r" defTabSz="914354" rtl="0" eaLnBrk="1" latinLnBrk="0" hangingPunct="1">
              <a:lnSpc>
                <a:spcPct val="90000"/>
              </a:lnSpc>
              <a:spcBef>
                <a:spcPts val="1000"/>
              </a:spcBef>
              <a:buFont typeface="Arial" panose="020B0604020202020204" pitchFamily="34" charset="0"/>
              <a:buNone/>
              <a:defRPr sz="1600" kern="1200">
                <a:solidFill>
                  <a:schemeClr val="accent1"/>
                </a:solidFill>
                <a:latin typeface="+mn-lt"/>
                <a:ea typeface="+mn-ea"/>
                <a:cs typeface="+mn-cs"/>
              </a:defRPr>
            </a:lvl1pPr>
            <a:lvl2pPr marL="457178" indent="0" algn="ctr" defTabSz="914354"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354" indent="0" algn="ctr" defTabSz="914354"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532"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709"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5886"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062"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240"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418"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endParaRPr lang="en-US" altLang="zh-CN" sz="7200" b="1" dirty="0">
              <a:solidFill>
                <a:schemeClr val="bg1"/>
              </a:solidFill>
              <a:ea typeface="宋体" panose="02010600030101010101" pitchFamily="2" charset="-122"/>
              <a:sym typeface="+mn-lt"/>
            </a:endParaRPr>
          </a:p>
        </p:txBody>
      </p:sp>
    </p:spTree>
    <p:custDataLst>
      <p:tags r:id="rId1"/>
    </p:custDataLst>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ïş1îḋê"/>
        <p:cNvGrpSpPr/>
        <p:nvPr/>
      </p:nvGrpSpPr>
      <p:grpSpPr>
        <a:xfrm>
          <a:off x="0" y="0"/>
          <a:ext cx="0" cy="0"/>
          <a:chOff x="0" y="0"/>
          <a:chExt cx="0" cy="0"/>
        </a:xfrm>
      </p:grpSpPr>
      <p:sp>
        <p:nvSpPr>
          <p:cNvPr id="2" name="îṧ1îḍè">
            <a:extLst>
              <a:ext uri="{FF2B5EF4-FFF2-40B4-BE49-F238E27FC236}">
                <a16:creationId xmlns:a16="http://schemas.microsoft.com/office/drawing/2014/main" id="{0B0F8F9C-6356-45A1-861F-B903301B7DC0}"/>
              </a:ext>
            </a:extLst>
          </p:cNvPr>
          <p:cNvSpPr>
            <a:spLocks noGrp="1"/>
          </p:cNvSpPr>
          <p:nvPr>
            <p:ph type="title"/>
          </p:nvPr>
        </p:nvSpPr>
        <p:spPr/>
        <p:txBody>
          <a:bodyPr/>
          <a:lstStyle/>
          <a:p>
            <a:r>
              <a:rPr lang="en-US" altLang="zh-CN" dirty="0">
                <a:latin typeface="+mn-lt"/>
                <a:sym typeface="+mn-lt"/>
              </a:rPr>
              <a:t>Blockchain</a:t>
            </a:r>
            <a:endParaRPr lang="zh-CN" altLang="en-US" dirty="0">
              <a:latin typeface="+mn-lt"/>
              <a:sym typeface="+mn-lt"/>
            </a:endParaRPr>
          </a:p>
        </p:txBody>
      </p:sp>
      <p:sp>
        <p:nvSpPr>
          <p:cNvPr id="4" name="ïṥľïḍè">
            <a:extLst>
              <a:ext uri="{FF2B5EF4-FFF2-40B4-BE49-F238E27FC236}">
                <a16:creationId xmlns:a16="http://schemas.microsoft.com/office/drawing/2014/main" id="{5E0B2F46-10C3-4182-93B1-F12870E5C1F7}"/>
              </a:ext>
            </a:extLst>
          </p:cNvPr>
          <p:cNvSpPr>
            <a:spLocks noGrp="1"/>
          </p:cNvSpPr>
          <p:nvPr>
            <p:ph type="sldNum" sz="quarter" idx="12"/>
          </p:nvPr>
        </p:nvSpPr>
        <p:spPr/>
        <p:txBody>
          <a:bodyPr/>
          <a:lstStyle/>
          <a:p>
            <a:fld id="{5DD3DB80-B894-403A-B48E-6FDC1A72010E}" type="slidenum">
              <a:rPr lang="zh-CN" altLang="en-US" smtClean="0">
                <a:sym typeface="+mn-lt"/>
              </a:rPr>
              <a:pPr/>
              <a:t>10</a:t>
            </a:fld>
            <a:endParaRPr lang="zh-CN" altLang="en-US">
              <a:sym typeface="+mn-lt"/>
            </a:endParaRPr>
          </a:p>
        </p:txBody>
      </p:sp>
      <p:pic>
        <p:nvPicPr>
          <p:cNvPr id="6" name="图片 5">
            <a:extLst>
              <a:ext uri="{FF2B5EF4-FFF2-40B4-BE49-F238E27FC236}">
                <a16:creationId xmlns:a16="http://schemas.microsoft.com/office/drawing/2014/main" id="{E946A4E1-D5BD-4AB0-B4FA-7310AB03A506}"/>
              </a:ext>
            </a:extLst>
          </p:cNvPr>
          <p:cNvPicPr>
            <a:picLocks noChangeAspect="1"/>
          </p:cNvPicPr>
          <p:nvPr/>
        </p:nvPicPr>
        <p:blipFill>
          <a:blip r:embed="rId4"/>
          <a:stretch>
            <a:fillRect/>
          </a:stretch>
        </p:blipFill>
        <p:spPr>
          <a:xfrm>
            <a:off x="2829752" y="1631894"/>
            <a:ext cx="6530906" cy="2560542"/>
          </a:xfrm>
          <a:prstGeom prst="rect">
            <a:avLst/>
          </a:prstGeom>
        </p:spPr>
      </p:pic>
      <p:sp>
        <p:nvSpPr>
          <p:cNvPr id="7" name="文本框 6">
            <a:extLst>
              <a:ext uri="{FF2B5EF4-FFF2-40B4-BE49-F238E27FC236}">
                <a16:creationId xmlns:a16="http://schemas.microsoft.com/office/drawing/2014/main" id="{F401A339-2E66-4788-A3AE-79FEAFF77FA1}"/>
              </a:ext>
            </a:extLst>
          </p:cNvPr>
          <p:cNvSpPr txBox="1"/>
          <p:nvPr/>
        </p:nvSpPr>
        <p:spPr>
          <a:xfrm>
            <a:off x="2186608" y="4795630"/>
            <a:ext cx="8931966" cy="1061829"/>
          </a:xfrm>
          <a:prstGeom prst="rect">
            <a:avLst/>
          </a:prstGeom>
          <a:noFill/>
        </p:spPr>
        <p:txBody>
          <a:bodyPr wrap="square" rtlCol="0">
            <a:spAutoFit/>
          </a:bodyPr>
          <a:lstStyle/>
          <a:p>
            <a:pPr marL="342900" indent="-342900">
              <a:lnSpc>
                <a:spcPct val="150000"/>
              </a:lnSpc>
              <a:buAutoNum type="arabicPeriod"/>
            </a:pPr>
            <a:r>
              <a:rPr lang="en-US" altLang="zh-CN" dirty="0"/>
              <a:t>Keep a record of every transaction taking trace.</a:t>
            </a:r>
          </a:p>
          <a:p>
            <a:pPr marL="342900" indent="-342900">
              <a:buAutoNum type="arabicPeriod"/>
            </a:pPr>
            <a:r>
              <a:rPr lang="en-US" altLang="zh-CN" dirty="0"/>
              <a:t>The smart contracts in blockchain help to enable role-based access control.</a:t>
            </a:r>
          </a:p>
          <a:p>
            <a:endParaRPr lang="zh-CN" altLang="en-US" dirty="0"/>
          </a:p>
        </p:txBody>
      </p:sp>
    </p:spTree>
    <p:custDataLst>
      <p:tags r:id="rId1"/>
    </p:custDataLst>
    <p:extLst>
      <p:ext uri="{BB962C8B-B14F-4D97-AF65-F5344CB8AC3E}">
        <p14:creationId xmlns:p14="http://schemas.microsoft.com/office/powerpoint/2010/main" val="7335943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ïş1îḋê"/>
        <p:cNvGrpSpPr/>
        <p:nvPr/>
      </p:nvGrpSpPr>
      <p:grpSpPr>
        <a:xfrm>
          <a:off x="0" y="0"/>
          <a:ext cx="0" cy="0"/>
          <a:chOff x="0" y="0"/>
          <a:chExt cx="0" cy="0"/>
        </a:xfrm>
      </p:grpSpPr>
      <p:sp>
        <p:nvSpPr>
          <p:cNvPr id="2" name="îṧ1îḍè">
            <a:extLst>
              <a:ext uri="{FF2B5EF4-FFF2-40B4-BE49-F238E27FC236}">
                <a16:creationId xmlns:a16="http://schemas.microsoft.com/office/drawing/2014/main" id="{0B0F8F9C-6356-45A1-861F-B903301B7DC0}"/>
              </a:ext>
            </a:extLst>
          </p:cNvPr>
          <p:cNvSpPr>
            <a:spLocks noGrp="1"/>
          </p:cNvSpPr>
          <p:nvPr>
            <p:ph type="title"/>
          </p:nvPr>
        </p:nvSpPr>
        <p:spPr/>
        <p:txBody>
          <a:bodyPr/>
          <a:lstStyle/>
          <a:p>
            <a:r>
              <a:rPr lang="en-US" altLang="zh-CN" dirty="0">
                <a:latin typeface="+mn-lt"/>
                <a:sym typeface="+mn-lt"/>
              </a:rPr>
              <a:t>Combination of blockchain and zero trust principles</a:t>
            </a:r>
            <a:endParaRPr lang="zh-CN" altLang="en-US" dirty="0">
              <a:latin typeface="+mn-lt"/>
              <a:sym typeface="+mn-lt"/>
            </a:endParaRPr>
          </a:p>
        </p:txBody>
      </p:sp>
      <p:sp>
        <p:nvSpPr>
          <p:cNvPr id="4" name="ïṥľïḍè">
            <a:extLst>
              <a:ext uri="{FF2B5EF4-FFF2-40B4-BE49-F238E27FC236}">
                <a16:creationId xmlns:a16="http://schemas.microsoft.com/office/drawing/2014/main" id="{5E0B2F46-10C3-4182-93B1-F12870E5C1F7}"/>
              </a:ext>
            </a:extLst>
          </p:cNvPr>
          <p:cNvSpPr>
            <a:spLocks noGrp="1"/>
          </p:cNvSpPr>
          <p:nvPr>
            <p:ph type="sldNum" sz="quarter" idx="12"/>
          </p:nvPr>
        </p:nvSpPr>
        <p:spPr/>
        <p:txBody>
          <a:bodyPr/>
          <a:lstStyle/>
          <a:p>
            <a:fld id="{5DD3DB80-B894-403A-B48E-6FDC1A72010E}" type="slidenum">
              <a:rPr lang="zh-CN" altLang="en-US" smtClean="0">
                <a:sym typeface="+mn-lt"/>
              </a:rPr>
              <a:pPr/>
              <a:t>11</a:t>
            </a:fld>
            <a:endParaRPr lang="zh-CN" altLang="en-US">
              <a:sym typeface="+mn-lt"/>
            </a:endParaRPr>
          </a:p>
        </p:txBody>
      </p:sp>
      <p:pic>
        <p:nvPicPr>
          <p:cNvPr id="5" name="图片 4">
            <a:extLst>
              <a:ext uri="{FF2B5EF4-FFF2-40B4-BE49-F238E27FC236}">
                <a16:creationId xmlns:a16="http://schemas.microsoft.com/office/drawing/2014/main" id="{1105EF21-A622-4A4F-91B0-119D45A1A195}"/>
              </a:ext>
            </a:extLst>
          </p:cNvPr>
          <p:cNvPicPr>
            <a:picLocks noChangeAspect="1"/>
          </p:cNvPicPr>
          <p:nvPr/>
        </p:nvPicPr>
        <p:blipFill>
          <a:blip r:embed="rId4"/>
          <a:stretch>
            <a:fillRect/>
          </a:stretch>
        </p:blipFill>
        <p:spPr>
          <a:xfrm>
            <a:off x="2229704" y="1305368"/>
            <a:ext cx="7371496" cy="4735126"/>
          </a:xfrm>
          <a:prstGeom prst="rect">
            <a:avLst/>
          </a:prstGeom>
        </p:spPr>
      </p:pic>
    </p:spTree>
    <p:custDataLst>
      <p:tags r:id="rId1"/>
    </p:custDataLst>
    <p:extLst>
      <p:ext uri="{BB962C8B-B14F-4D97-AF65-F5344CB8AC3E}">
        <p14:creationId xmlns:p14="http://schemas.microsoft.com/office/powerpoint/2010/main" val="25501475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íŝḻiḋê"/>
        <p:cNvGrpSpPr/>
        <p:nvPr/>
      </p:nvGrpSpPr>
      <p:grpSpPr>
        <a:xfrm>
          <a:off x="0" y="0"/>
          <a:ext cx="0" cy="0"/>
          <a:chOff x="0" y="0"/>
          <a:chExt cx="0" cy="0"/>
        </a:xfrm>
      </p:grpSpPr>
      <p:sp>
        <p:nvSpPr>
          <p:cNvPr id="5" name="îşļídè"/>
          <p:cNvSpPr>
            <a:spLocks noGrp="1"/>
          </p:cNvSpPr>
          <p:nvPr>
            <p:ph type="title"/>
          </p:nvPr>
        </p:nvSpPr>
        <p:spPr>
          <a:xfrm>
            <a:off x="2400300" y="3429000"/>
            <a:ext cx="7391400" cy="895350"/>
          </a:xfrm>
        </p:spPr>
        <p:txBody>
          <a:bodyPr>
            <a:normAutofit/>
          </a:bodyPr>
          <a:lstStyle/>
          <a:p>
            <a:pPr lvl="0" algn="ctr" fontAlgn="base">
              <a:spcBef>
                <a:spcPct val="0"/>
              </a:spcBef>
              <a:spcAft>
                <a:spcPct val="0"/>
              </a:spcAft>
              <a:tabLst>
                <a:tab pos="227965" algn="l"/>
              </a:tabLst>
              <a:defRPr/>
            </a:pPr>
            <a:r>
              <a:rPr lang="en-US" altLang="zh-CN" sz="4000" b="1" dirty="0">
                <a:sym typeface="+mn-lt"/>
              </a:rPr>
              <a:t>Specific Construction</a:t>
            </a:r>
          </a:p>
        </p:txBody>
      </p:sp>
      <p:sp>
        <p:nvSpPr>
          <p:cNvPr id="9" name="ïsliḋé">
            <a:extLst>
              <a:ext uri="{FF2B5EF4-FFF2-40B4-BE49-F238E27FC236}">
                <a16:creationId xmlns:a16="http://schemas.microsoft.com/office/drawing/2014/main" id="{04F69230-F3A6-4586-9371-A858F4763E9F}"/>
              </a:ext>
            </a:extLst>
          </p:cNvPr>
          <p:cNvSpPr txBox="1"/>
          <p:nvPr/>
        </p:nvSpPr>
        <p:spPr>
          <a:xfrm>
            <a:off x="5623932" y="1816100"/>
            <a:ext cx="944136" cy="778380"/>
          </a:xfrm>
          <a:prstGeom prst="rect">
            <a:avLst/>
          </a:prstGeom>
          <a:noFill/>
          <a:ln w="117475">
            <a:noFill/>
          </a:ln>
        </p:spPr>
        <p:txBody>
          <a:bodyPr wrap="none" rtlCol="0">
            <a:prstTxWarp prst="textPlain">
              <a:avLst/>
            </a:prstTxWarp>
            <a:spAutoFit/>
          </a:bodyPr>
          <a:lstStyle/>
          <a:p>
            <a:r>
              <a:rPr lang="en-US" altLang="zh-CN" b="1" spc="-150" dirty="0">
                <a:solidFill>
                  <a:schemeClr val="bg1"/>
                </a:solidFill>
                <a:cs typeface="Arial" panose="020B0604020202020204" pitchFamily="34" charset="0"/>
                <a:sym typeface="+mn-lt"/>
              </a:rPr>
              <a:t>0</a:t>
            </a:r>
            <a:r>
              <a:rPr lang="en-US" altLang="zh-CN" sz="100" b="1" spc="-150" dirty="0">
                <a:solidFill>
                  <a:schemeClr val="bg1"/>
                </a:solidFill>
                <a:cs typeface="Arial" panose="020B0604020202020204" pitchFamily="34" charset="0"/>
                <a:sym typeface="+mn-lt"/>
              </a:rPr>
              <a:t> </a:t>
            </a:r>
            <a:r>
              <a:rPr lang="en-US" altLang="zh-CN" b="1" spc="-150" dirty="0">
                <a:solidFill>
                  <a:schemeClr val="bg1"/>
                </a:solidFill>
                <a:cs typeface="Arial" panose="020B0604020202020204" pitchFamily="34" charset="0"/>
                <a:sym typeface="+mn-lt"/>
              </a:rPr>
              <a:t>4</a:t>
            </a:r>
            <a:endParaRPr lang="zh-CN" altLang="en-US" b="1" spc="-150" dirty="0">
              <a:solidFill>
                <a:schemeClr val="bg1"/>
              </a:solidFill>
              <a:cs typeface="Arial" panose="020B0604020202020204" pitchFamily="34" charset="0"/>
              <a:sym typeface="+mn-lt"/>
            </a:endParaRPr>
          </a:p>
        </p:txBody>
      </p:sp>
    </p:spTree>
    <p:custDataLst>
      <p:tags r:id="rId1"/>
    </p:custDataLst>
    <p:extLst>
      <p:ext uri="{BB962C8B-B14F-4D97-AF65-F5344CB8AC3E}">
        <p14:creationId xmlns:p14="http://schemas.microsoft.com/office/powerpoint/2010/main" val="41324545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işḻiḍê"/>
        <p:cNvGrpSpPr/>
        <p:nvPr/>
      </p:nvGrpSpPr>
      <p:grpSpPr>
        <a:xfrm>
          <a:off x="0" y="0"/>
          <a:ext cx="0" cy="0"/>
          <a:chOff x="0" y="0"/>
          <a:chExt cx="0" cy="0"/>
        </a:xfrm>
      </p:grpSpPr>
      <p:pic>
        <p:nvPicPr>
          <p:cNvPr id="7" name="图片 6">
            <a:extLst>
              <a:ext uri="{FF2B5EF4-FFF2-40B4-BE49-F238E27FC236}">
                <a16:creationId xmlns:a16="http://schemas.microsoft.com/office/drawing/2014/main" id="{AC774B40-5F49-4363-8D8F-9AC3103D9E42}"/>
              </a:ext>
            </a:extLst>
          </p:cNvPr>
          <p:cNvPicPr>
            <a:picLocks noChangeAspect="1"/>
          </p:cNvPicPr>
          <p:nvPr/>
        </p:nvPicPr>
        <p:blipFill>
          <a:blip r:embed="rId4"/>
          <a:stretch>
            <a:fillRect/>
          </a:stretch>
        </p:blipFill>
        <p:spPr>
          <a:xfrm>
            <a:off x="6329113" y="1861920"/>
            <a:ext cx="4957466" cy="3730877"/>
          </a:xfrm>
          <a:prstGeom prst="rect">
            <a:avLst/>
          </a:prstGeom>
        </p:spPr>
      </p:pic>
      <p:sp>
        <p:nvSpPr>
          <p:cNvPr id="2" name="î$ľîḍé">
            <a:extLst>
              <a:ext uri="{FF2B5EF4-FFF2-40B4-BE49-F238E27FC236}">
                <a16:creationId xmlns:a16="http://schemas.microsoft.com/office/drawing/2014/main" id="{16AE0D85-EAA1-4BCA-B474-1A8AAB1A7E6D}"/>
              </a:ext>
            </a:extLst>
          </p:cNvPr>
          <p:cNvSpPr>
            <a:spLocks noGrp="1"/>
          </p:cNvSpPr>
          <p:nvPr>
            <p:ph type="title"/>
          </p:nvPr>
        </p:nvSpPr>
        <p:spPr/>
        <p:txBody>
          <a:bodyPr/>
          <a:lstStyle/>
          <a:p>
            <a:r>
              <a:rPr lang="en-US" altLang="zh-CN" dirty="0">
                <a:latin typeface="+mn-lt"/>
                <a:sym typeface="+mn-lt"/>
              </a:rPr>
              <a:t>the steps that take place when sender wants to send a file</a:t>
            </a:r>
            <a:endParaRPr lang="zh-CN" altLang="en-US" dirty="0">
              <a:latin typeface="+mn-lt"/>
              <a:sym typeface="+mn-lt"/>
            </a:endParaRPr>
          </a:p>
        </p:txBody>
      </p:sp>
      <p:sp>
        <p:nvSpPr>
          <p:cNvPr id="4" name="ïṥḻiḑé">
            <a:extLst>
              <a:ext uri="{FF2B5EF4-FFF2-40B4-BE49-F238E27FC236}">
                <a16:creationId xmlns:a16="http://schemas.microsoft.com/office/drawing/2014/main" id="{FACD26BA-1180-4ED0-9175-6BEEDEDAF2E4}"/>
              </a:ext>
            </a:extLst>
          </p:cNvPr>
          <p:cNvSpPr>
            <a:spLocks noGrp="1"/>
          </p:cNvSpPr>
          <p:nvPr>
            <p:ph type="sldNum" sz="quarter" idx="12"/>
          </p:nvPr>
        </p:nvSpPr>
        <p:spPr/>
        <p:txBody>
          <a:bodyPr/>
          <a:lstStyle/>
          <a:p>
            <a:fld id="{5DD3DB80-B894-403A-B48E-6FDC1A72010E}" type="slidenum">
              <a:rPr lang="zh-CN" altLang="en-US" smtClean="0">
                <a:sym typeface="+mn-lt"/>
              </a:rPr>
              <a:pPr/>
              <a:t>13</a:t>
            </a:fld>
            <a:endParaRPr lang="zh-CN" altLang="en-US">
              <a:sym typeface="+mn-lt"/>
            </a:endParaRPr>
          </a:p>
        </p:txBody>
      </p:sp>
      <p:pic>
        <p:nvPicPr>
          <p:cNvPr id="9" name="图片 8">
            <a:extLst>
              <a:ext uri="{FF2B5EF4-FFF2-40B4-BE49-F238E27FC236}">
                <a16:creationId xmlns:a16="http://schemas.microsoft.com/office/drawing/2014/main" id="{43F35C35-3BA6-4DE0-9742-9D0AED7C7005}"/>
              </a:ext>
            </a:extLst>
          </p:cNvPr>
          <p:cNvPicPr>
            <a:picLocks noChangeAspect="1"/>
          </p:cNvPicPr>
          <p:nvPr/>
        </p:nvPicPr>
        <p:blipFill>
          <a:blip r:embed="rId5"/>
          <a:stretch>
            <a:fillRect/>
          </a:stretch>
        </p:blipFill>
        <p:spPr>
          <a:xfrm>
            <a:off x="1000750" y="1394283"/>
            <a:ext cx="5563082" cy="4069433"/>
          </a:xfrm>
          <a:prstGeom prst="rect">
            <a:avLst/>
          </a:prstGeom>
        </p:spPr>
      </p:pic>
      <p:pic>
        <p:nvPicPr>
          <p:cNvPr id="5" name="图片 4">
            <a:extLst>
              <a:ext uri="{FF2B5EF4-FFF2-40B4-BE49-F238E27FC236}">
                <a16:creationId xmlns:a16="http://schemas.microsoft.com/office/drawing/2014/main" id="{502FC16B-7ED8-4759-9993-C6F73C4B86B0}"/>
              </a:ext>
            </a:extLst>
          </p:cNvPr>
          <p:cNvPicPr>
            <a:picLocks noChangeAspect="1"/>
          </p:cNvPicPr>
          <p:nvPr/>
        </p:nvPicPr>
        <p:blipFill>
          <a:blip r:embed="rId6"/>
          <a:stretch>
            <a:fillRect/>
          </a:stretch>
        </p:blipFill>
        <p:spPr>
          <a:xfrm>
            <a:off x="6155499" y="1861920"/>
            <a:ext cx="5131080" cy="3705041"/>
          </a:xfrm>
          <a:prstGeom prst="rect">
            <a:avLst/>
          </a:prstGeom>
        </p:spPr>
      </p:pic>
    </p:spTree>
    <p:custDataLst>
      <p:tags r:id="rId1"/>
    </p:custDataLst>
    <p:extLst>
      <p:ext uri="{BB962C8B-B14F-4D97-AF65-F5344CB8AC3E}">
        <p14:creationId xmlns:p14="http://schemas.microsoft.com/office/powerpoint/2010/main" val="20049791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5"/>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işḻiḍê"/>
        <p:cNvGrpSpPr/>
        <p:nvPr/>
      </p:nvGrpSpPr>
      <p:grpSpPr>
        <a:xfrm>
          <a:off x="0" y="0"/>
          <a:ext cx="0" cy="0"/>
          <a:chOff x="0" y="0"/>
          <a:chExt cx="0" cy="0"/>
        </a:xfrm>
      </p:grpSpPr>
      <p:sp>
        <p:nvSpPr>
          <p:cNvPr id="2" name="î$ľîḍé">
            <a:extLst>
              <a:ext uri="{FF2B5EF4-FFF2-40B4-BE49-F238E27FC236}">
                <a16:creationId xmlns:a16="http://schemas.microsoft.com/office/drawing/2014/main" id="{16AE0D85-EAA1-4BCA-B474-1A8AAB1A7E6D}"/>
              </a:ext>
            </a:extLst>
          </p:cNvPr>
          <p:cNvSpPr>
            <a:spLocks noGrp="1"/>
          </p:cNvSpPr>
          <p:nvPr>
            <p:ph type="title"/>
          </p:nvPr>
        </p:nvSpPr>
        <p:spPr>
          <a:xfrm>
            <a:off x="669924" y="1"/>
            <a:ext cx="11355821" cy="1028699"/>
          </a:xfrm>
        </p:spPr>
        <p:txBody>
          <a:bodyPr/>
          <a:lstStyle/>
          <a:p>
            <a:r>
              <a:rPr lang="en-US" altLang="zh-CN" dirty="0">
                <a:latin typeface="+mn-lt"/>
                <a:sym typeface="+mn-lt"/>
              </a:rPr>
              <a:t>the steps that take place when receiver wants to retrieve the file</a:t>
            </a:r>
            <a:endParaRPr lang="zh-CN" altLang="en-US" dirty="0">
              <a:latin typeface="+mn-lt"/>
              <a:sym typeface="+mn-lt"/>
            </a:endParaRPr>
          </a:p>
        </p:txBody>
      </p:sp>
      <p:sp>
        <p:nvSpPr>
          <p:cNvPr id="4" name="ïṥḻiḑé">
            <a:extLst>
              <a:ext uri="{FF2B5EF4-FFF2-40B4-BE49-F238E27FC236}">
                <a16:creationId xmlns:a16="http://schemas.microsoft.com/office/drawing/2014/main" id="{FACD26BA-1180-4ED0-9175-6BEEDEDAF2E4}"/>
              </a:ext>
            </a:extLst>
          </p:cNvPr>
          <p:cNvSpPr>
            <a:spLocks noGrp="1"/>
          </p:cNvSpPr>
          <p:nvPr>
            <p:ph type="sldNum" sz="quarter" idx="12"/>
          </p:nvPr>
        </p:nvSpPr>
        <p:spPr/>
        <p:txBody>
          <a:bodyPr/>
          <a:lstStyle/>
          <a:p>
            <a:fld id="{5DD3DB80-B894-403A-B48E-6FDC1A72010E}" type="slidenum">
              <a:rPr lang="zh-CN" altLang="en-US" smtClean="0">
                <a:sym typeface="+mn-lt"/>
              </a:rPr>
              <a:pPr/>
              <a:t>14</a:t>
            </a:fld>
            <a:endParaRPr lang="zh-CN" altLang="en-US">
              <a:sym typeface="+mn-lt"/>
            </a:endParaRPr>
          </a:p>
        </p:txBody>
      </p:sp>
      <p:pic>
        <p:nvPicPr>
          <p:cNvPr id="9" name="图片 8">
            <a:extLst>
              <a:ext uri="{FF2B5EF4-FFF2-40B4-BE49-F238E27FC236}">
                <a16:creationId xmlns:a16="http://schemas.microsoft.com/office/drawing/2014/main" id="{BF5A6A05-CCA5-47D2-9A91-87CC28E51B44}"/>
              </a:ext>
            </a:extLst>
          </p:cNvPr>
          <p:cNvPicPr>
            <a:picLocks noChangeAspect="1"/>
          </p:cNvPicPr>
          <p:nvPr/>
        </p:nvPicPr>
        <p:blipFill>
          <a:blip r:embed="rId4"/>
          <a:stretch>
            <a:fillRect/>
          </a:stretch>
        </p:blipFill>
        <p:spPr>
          <a:xfrm>
            <a:off x="-96982" y="1430283"/>
            <a:ext cx="6346047" cy="3997434"/>
          </a:xfrm>
          <a:prstGeom prst="rect">
            <a:avLst/>
          </a:prstGeom>
        </p:spPr>
      </p:pic>
      <p:pic>
        <p:nvPicPr>
          <p:cNvPr id="11" name="图片 10">
            <a:extLst>
              <a:ext uri="{FF2B5EF4-FFF2-40B4-BE49-F238E27FC236}">
                <a16:creationId xmlns:a16="http://schemas.microsoft.com/office/drawing/2014/main" id="{10C342ED-0636-478C-8ACD-5DA349D44C86}"/>
              </a:ext>
            </a:extLst>
          </p:cNvPr>
          <p:cNvPicPr>
            <a:picLocks noChangeAspect="1"/>
          </p:cNvPicPr>
          <p:nvPr/>
        </p:nvPicPr>
        <p:blipFill>
          <a:blip r:embed="rId5"/>
          <a:stretch>
            <a:fillRect/>
          </a:stretch>
        </p:blipFill>
        <p:spPr>
          <a:xfrm>
            <a:off x="5386391" y="2475499"/>
            <a:ext cx="6448416" cy="2318165"/>
          </a:xfrm>
          <a:prstGeom prst="rect">
            <a:avLst/>
          </a:prstGeom>
        </p:spPr>
      </p:pic>
    </p:spTree>
    <p:custDataLst>
      <p:tags r:id="rId1"/>
    </p:custDataLst>
    <p:extLst>
      <p:ext uri="{BB962C8B-B14F-4D97-AF65-F5344CB8AC3E}">
        <p14:creationId xmlns:p14="http://schemas.microsoft.com/office/powerpoint/2010/main" val="32625832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íŝḻiḋê"/>
        <p:cNvGrpSpPr/>
        <p:nvPr/>
      </p:nvGrpSpPr>
      <p:grpSpPr>
        <a:xfrm>
          <a:off x="0" y="0"/>
          <a:ext cx="0" cy="0"/>
          <a:chOff x="0" y="0"/>
          <a:chExt cx="0" cy="0"/>
        </a:xfrm>
      </p:grpSpPr>
      <p:sp>
        <p:nvSpPr>
          <p:cNvPr id="5" name="îşļídè"/>
          <p:cNvSpPr>
            <a:spLocks noGrp="1"/>
          </p:cNvSpPr>
          <p:nvPr>
            <p:ph type="title"/>
          </p:nvPr>
        </p:nvSpPr>
        <p:spPr>
          <a:xfrm>
            <a:off x="2400300" y="3429000"/>
            <a:ext cx="7391400" cy="895350"/>
          </a:xfrm>
        </p:spPr>
        <p:txBody>
          <a:bodyPr>
            <a:normAutofit/>
          </a:bodyPr>
          <a:lstStyle/>
          <a:p>
            <a:pPr lvl="0" algn="ctr" fontAlgn="base">
              <a:spcBef>
                <a:spcPct val="0"/>
              </a:spcBef>
              <a:spcAft>
                <a:spcPct val="0"/>
              </a:spcAft>
              <a:tabLst>
                <a:tab pos="227965" algn="l"/>
              </a:tabLst>
              <a:defRPr/>
            </a:pPr>
            <a:r>
              <a:rPr lang="en-US" altLang="zh-CN" sz="4000" b="1" dirty="0">
                <a:sym typeface="+mn-lt"/>
              </a:rPr>
              <a:t>Analysis</a:t>
            </a:r>
          </a:p>
        </p:txBody>
      </p:sp>
      <p:sp>
        <p:nvSpPr>
          <p:cNvPr id="9" name="ïsliḋé">
            <a:extLst>
              <a:ext uri="{FF2B5EF4-FFF2-40B4-BE49-F238E27FC236}">
                <a16:creationId xmlns:a16="http://schemas.microsoft.com/office/drawing/2014/main" id="{04F69230-F3A6-4586-9371-A858F4763E9F}"/>
              </a:ext>
            </a:extLst>
          </p:cNvPr>
          <p:cNvSpPr txBox="1"/>
          <p:nvPr/>
        </p:nvSpPr>
        <p:spPr>
          <a:xfrm>
            <a:off x="5623932" y="1816100"/>
            <a:ext cx="944136" cy="778380"/>
          </a:xfrm>
          <a:prstGeom prst="rect">
            <a:avLst/>
          </a:prstGeom>
          <a:noFill/>
          <a:ln w="117475">
            <a:noFill/>
          </a:ln>
        </p:spPr>
        <p:txBody>
          <a:bodyPr wrap="none" rtlCol="0">
            <a:prstTxWarp prst="textPlain">
              <a:avLst/>
            </a:prstTxWarp>
            <a:spAutoFit/>
          </a:bodyPr>
          <a:lstStyle/>
          <a:p>
            <a:r>
              <a:rPr lang="en-US" altLang="zh-CN" b="1" spc="-150" dirty="0">
                <a:solidFill>
                  <a:schemeClr val="bg1"/>
                </a:solidFill>
                <a:cs typeface="Arial" panose="020B0604020202020204" pitchFamily="34" charset="0"/>
                <a:sym typeface="+mn-lt"/>
              </a:rPr>
              <a:t>0</a:t>
            </a:r>
            <a:r>
              <a:rPr lang="en-US" altLang="zh-CN" sz="100" b="1" spc="-150" dirty="0">
                <a:solidFill>
                  <a:schemeClr val="bg1"/>
                </a:solidFill>
                <a:cs typeface="Arial" panose="020B0604020202020204" pitchFamily="34" charset="0"/>
                <a:sym typeface="+mn-lt"/>
              </a:rPr>
              <a:t> </a:t>
            </a:r>
            <a:r>
              <a:rPr lang="en-US" altLang="zh-CN" b="1" spc="-150" dirty="0">
                <a:solidFill>
                  <a:schemeClr val="bg1"/>
                </a:solidFill>
                <a:cs typeface="Arial" panose="020B0604020202020204" pitchFamily="34" charset="0"/>
                <a:sym typeface="+mn-lt"/>
              </a:rPr>
              <a:t>5</a:t>
            </a:r>
            <a:endParaRPr lang="zh-CN" altLang="en-US" b="1" spc="-150" dirty="0">
              <a:solidFill>
                <a:schemeClr val="bg1"/>
              </a:solidFill>
              <a:cs typeface="Arial" panose="020B0604020202020204" pitchFamily="34" charset="0"/>
              <a:sym typeface="+mn-lt"/>
            </a:endParaRPr>
          </a:p>
        </p:txBody>
      </p:sp>
    </p:spTree>
    <p:custDataLst>
      <p:tags r:id="rId1"/>
    </p:custDataLst>
    <p:extLst>
      <p:ext uri="{BB962C8B-B14F-4D97-AF65-F5344CB8AC3E}">
        <p14:creationId xmlns:p14="http://schemas.microsoft.com/office/powerpoint/2010/main" val="4271008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işḻiḍê"/>
        <p:cNvGrpSpPr/>
        <p:nvPr/>
      </p:nvGrpSpPr>
      <p:grpSpPr>
        <a:xfrm>
          <a:off x="0" y="0"/>
          <a:ext cx="0" cy="0"/>
          <a:chOff x="0" y="0"/>
          <a:chExt cx="0" cy="0"/>
        </a:xfrm>
      </p:grpSpPr>
      <p:sp>
        <p:nvSpPr>
          <p:cNvPr id="2" name="î$ľîḍé">
            <a:extLst>
              <a:ext uri="{FF2B5EF4-FFF2-40B4-BE49-F238E27FC236}">
                <a16:creationId xmlns:a16="http://schemas.microsoft.com/office/drawing/2014/main" id="{16AE0D85-EAA1-4BCA-B474-1A8AAB1A7E6D}"/>
              </a:ext>
            </a:extLst>
          </p:cNvPr>
          <p:cNvSpPr>
            <a:spLocks noGrp="1"/>
          </p:cNvSpPr>
          <p:nvPr>
            <p:ph type="title"/>
          </p:nvPr>
        </p:nvSpPr>
        <p:spPr/>
        <p:txBody>
          <a:bodyPr/>
          <a:lstStyle/>
          <a:p>
            <a:r>
              <a:rPr lang="en-US" altLang="zh-CN" dirty="0">
                <a:latin typeface="+mn-lt"/>
                <a:sym typeface="+mn-lt"/>
              </a:rPr>
              <a:t>Security analysis</a:t>
            </a:r>
            <a:endParaRPr lang="zh-CN" altLang="en-US" dirty="0"/>
          </a:p>
        </p:txBody>
      </p:sp>
      <p:sp>
        <p:nvSpPr>
          <p:cNvPr id="3" name="îŝļîdé">
            <a:extLst>
              <a:ext uri="{FF2B5EF4-FFF2-40B4-BE49-F238E27FC236}">
                <a16:creationId xmlns:a16="http://schemas.microsoft.com/office/drawing/2014/main" id="{54180C41-8BC4-4AEC-B2DA-9547BF407274}"/>
              </a:ext>
            </a:extLst>
          </p:cNvPr>
          <p:cNvSpPr>
            <a:spLocks noGrp="1"/>
          </p:cNvSpPr>
          <p:nvPr>
            <p:ph type="ftr" sz="quarter" idx="11"/>
          </p:nvPr>
        </p:nvSpPr>
        <p:spPr/>
        <p:txBody>
          <a:bodyPr/>
          <a:lstStyle/>
          <a:p>
            <a:r>
              <a:rPr lang="zh-CN" altLang="en-US"/>
              <a:t>请在插入菜单</a:t>
            </a:r>
            <a:r>
              <a:rPr lang="zh-CN" altLang="en-US" sz="100"/>
              <a:t> </a:t>
            </a:r>
            <a:r>
              <a:rPr lang="en-US" altLang="zh-CN"/>
              <a:t>—</a:t>
            </a:r>
            <a:r>
              <a:rPr lang="zh-CN" altLang="en-US"/>
              <a:t>页眉和页脚中修改此文本</a:t>
            </a:r>
            <a:endParaRPr lang="zh-CN" altLang="en-US" dirty="0"/>
          </a:p>
        </p:txBody>
      </p:sp>
      <p:sp>
        <p:nvSpPr>
          <p:cNvPr id="4" name="ïṥḻiḑé">
            <a:extLst>
              <a:ext uri="{FF2B5EF4-FFF2-40B4-BE49-F238E27FC236}">
                <a16:creationId xmlns:a16="http://schemas.microsoft.com/office/drawing/2014/main" id="{FACD26BA-1180-4ED0-9175-6BEEDEDAF2E4}"/>
              </a:ext>
            </a:extLst>
          </p:cNvPr>
          <p:cNvSpPr>
            <a:spLocks noGrp="1"/>
          </p:cNvSpPr>
          <p:nvPr>
            <p:ph type="sldNum" sz="quarter" idx="12"/>
          </p:nvPr>
        </p:nvSpPr>
        <p:spPr/>
        <p:txBody>
          <a:bodyPr/>
          <a:lstStyle/>
          <a:p>
            <a:fld id="{5DD3DB80-B894-403A-B48E-6FDC1A72010E}" type="slidenum">
              <a:rPr lang="zh-CN" altLang="en-US" smtClean="0"/>
              <a:pPr/>
              <a:t>16</a:t>
            </a:fld>
            <a:endParaRPr lang="zh-CN" altLang="en-US"/>
          </a:p>
        </p:txBody>
      </p:sp>
      <p:grpSp>
        <p:nvGrpSpPr>
          <p:cNvPr id="65" name="i$ḷíḍé"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D05937CE-A57E-4019-897E-FCB788403FF8}"/>
              </a:ext>
            </a:extLst>
          </p:cNvPr>
          <p:cNvGrpSpPr>
            <a:grpSpLocks noChangeAspect="1"/>
          </p:cNvGrpSpPr>
          <p:nvPr/>
        </p:nvGrpSpPr>
        <p:grpSpPr>
          <a:xfrm>
            <a:off x="673100" y="1907870"/>
            <a:ext cx="10845800" cy="3602897"/>
            <a:chOff x="673100" y="1907870"/>
            <a:chExt cx="10845800" cy="3602897"/>
          </a:xfrm>
        </p:grpSpPr>
        <p:grpSp>
          <p:nvGrpSpPr>
            <p:cNvPr id="66" name="ïsḻiḓê">
              <a:extLst>
                <a:ext uri="{FF2B5EF4-FFF2-40B4-BE49-F238E27FC236}">
                  <a16:creationId xmlns:a16="http://schemas.microsoft.com/office/drawing/2014/main" id="{12ED3C76-0B77-4506-B44F-41D8B0A861EB}"/>
                </a:ext>
              </a:extLst>
            </p:cNvPr>
            <p:cNvGrpSpPr/>
            <p:nvPr/>
          </p:nvGrpSpPr>
          <p:grpSpPr>
            <a:xfrm>
              <a:off x="4097138" y="1907870"/>
              <a:ext cx="3997723" cy="3461360"/>
              <a:chOff x="4097138" y="2685440"/>
              <a:chExt cx="3997723" cy="3461360"/>
            </a:xfrm>
          </p:grpSpPr>
          <p:sp>
            <p:nvSpPr>
              <p:cNvPr id="79" name="îṣľîḓè">
                <a:extLst>
                  <a:ext uri="{FF2B5EF4-FFF2-40B4-BE49-F238E27FC236}">
                    <a16:creationId xmlns:a16="http://schemas.microsoft.com/office/drawing/2014/main" id="{BC99831B-3D58-4764-BFDD-B4E8237392AF}"/>
                  </a:ext>
                </a:extLst>
              </p:cNvPr>
              <p:cNvSpPr/>
              <p:nvPr/>
            </p:nvSpPr>
            <p:spPr>
              <a:xfrm>
                <a:off x="5318403" y="3387327"/>
                <a:ext cx="2322035" cy="2759473"/>
              </a:xfrm>
              <a:custGeom>
                <a:avLst/>
                <a:gdLst/>
                <a:ahLst/>
                <a:cxnLst>
                  <a:cxn ang="0">
                    <a:pos x="wd2" y="hd2"/>
                  </a:cxn>
                  <a:cxn ang="5400000">
                    <a:pos x="wd2" y="hd2"/>
                  </a:cxn>
                  <a:cxn ang="10800000">
                    <a:pos x="wd2" y="hd2"/>
                  </a:cxn>
                  <a:cxn ang="16200000">
                    <a:pos x="wd2" y="hd2"/>
                  </a:cxn>
                </a:cxnLst>
                <a:rect l="0" t="0" r="r" b="b"/>
                <a:pathLst>
                  <a:path w="21246" h="21600" extrusionOk="0">
                    <a:moveTo>
                      <a:pt x="21237" y="0"/>
                    </a:moveTo>
                    <a:cubicBezTo>
                      <a:pt x="21223" y="30"/>
                      <a:pt x="20310" y="3451"/>
                      <a:pt x="15469" y="6326"/>
                    </a:cubicBezTo>
                    <a:cubicBezTo>
                      <a:pt x="10697" y="9162"/>
                      <a:pt x="7030" y="8872"/>
                      <a:pt x="6382" y="8854"/>
                    </a:cubicBezTo>
                    <a:cubicBezTo>
                      <a:pt x="5568" y="8767"/>
                      <a:pt x="4762" y="8542"/>
                      <a:pt x="4008" y="8169"/>
                    </a:cubicBezTo>
                    <a:cubicBezTo>
                      <a:pt x="998" y="6679"/>
                      <a:pt x="-32" y="3383"/>
                      <a:pt x="1710" y="808"/>
                    </a:cubicBezTo>
                    <a:cubicBezTo>
                      <a:pt x="1783" y="700"/>
                      <a:pt x="1860" y="597"/>
                      <a:pt x="1940" y="495"/>
                    </a:cubicBezTo>
                    <a:cubicBezTo>
                      <a:pt x="1298" y="1290"/>
                      <a:pt x="-354" y="3791"/>
                      <a:pt x="69" y="8228"/>
                    </a:cubicBezTo>
                    <a:cubicBezTo>
                      <a:pt x="321" y="10879"/>
                      <a:pt x="1284" y="12777"/>
                      <a:pt x="2153" y="14001"/>
                    </a:cubicBezTo>
                    <a:lnTo>
                      <a:pt x="7224" y="21600"/>
                    </a:lnTo>
                    <a:lnTo>
                      <a:pt x="20059" y="2384"/>
                    </a:lnTo>
                    <a:cubicBezTo>
                      <a:pt x="20348" y="1952"/>
                      <a:pt x="20593" y="1530"/>
                      <a:pt x="20796" y="1115"/>
                    </a:cubicBezTo>
                    <a:cubicBezTo>
                      <a:pt x="20983" y="736"/>
                      <a:pt x="21133" y="366"/>
                      <a:pt x="21246" y="6"/>
                    </a:cubicBezTo>
                    <a:lnTo>
                      <a:pt x="21237" y="0"/>
                    </a:lnTo>
                    <a:close/>
                    <a:moveTo>
                      <a:pt x="1940" y="495"/>
                    </a:moveTo>
                    <a:cubicBezTo>
                      <a:pt x="1981" y="445"/>
                      <a:pt x="2021" y="395"/>
                      <a:pt x="2063" y="346"/>
                    </a:cubicBezTo>
                    <a:cubicBezTo>
                      <a:pt x="2105" y="297"/>
                      <a:pt x="2148" y="248"/>
                      <a:pt x="2191" y="200"/>
                    </a:cubicBezTo>
                    <a:cubicBezTo>
                      <a:pt x="2180" y="212"/>
                      <a:pt x="2149" y="247"/>
                      <a:pt x="2105" y="298"/>
                    </a:cubicBezTo>
                    <a:cubicBezTo>
                      <a:pt x="2061" y="349"/>
                      <a:pt x="2004" y="417"/>
                      <a:pt x="1940" y="495"/>
                    </a:cubicBezTo>
                    <a:close/>
                  </a:path>
                </a:pathLst>
              </a:custGeom>
              <a:solidFill>
                <a:schemeClr val="accent4"/>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Bef>
                    <a:spcPct val="0"/>
                  </a:spcBef>
                </a:pPr>
                <a:endParaRPr dirty="0"/>
              </a:p>
            </p:txBody>
          </p:sp>
          <p:sp>
            <p:nvSpPr>
              <p:cNvPr id="80" name="iṩ1îdê">
                <a:extLst>
                  <a:ext uri="{FF2B5EF4-FFF2-40B4-BE49-F238E27FC236}">
                    <a16:creationId xmlns:a16="http://schemas.microsoft.com/office/drawing/2014/main" id="{206C7C5F-1443-4609-815E-1717D02029C0}"/>
                  </a:ext>
                </a:extLst>
              </p:cNvPr>
              <p:cNvSpPr/>
              <p:nvPr/>
            </p:nvSpPr>
            <p:spPr>
              <a:xfrm>
                <a:off x="4097138" y="2685517"/>
                <a:ext cx="3997723" cy="269259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5"/>
                    </a:lnTo>
                    <a:lnTo>
                      <a:pt x="7588" y="19505"/>
                    </a:lnTo>
                    <a:cubicBezTo>
                      <a:pt x="7756" y="19938"/>
                      <a:pt x="7934" y="20329"/>
                      <a:pt x="8121" y="20678"/>
                    </a:cubicBezTo>
                    <a:cubicBezTo>
                      <a:pt x="8307" y="21027"/>
                      <a:pt x="8503" y="21334"/>
                      <a:pt x="8704" y="21600"/>
                    </a:cubicBezTo>
                    <a:lnTo>
                      <a:pt x="8706" y="21598"/>
                    </a:lnTo>
                    <a:cubicBezTo>
                      <a:pt x="8700" y="21587"/>
                      <a:pt x="6904" y="19188"/>
                      <a:pt x="6614" y="14066"/>
                    </a:cubicBezTo>
                    <a:cubicBezTo>
                      <a:pt x="6305" y="8612"/>
                      <a:pt x="7782" y="5960"/>
                      <a:pt x="7868" y="5809"/>
                    </a:cubicBezTo>
                    <a:cubicBezTo>
                      <a:pt x="8997" y="3675"/>
                      <a:pt x="11040" y="3047"/>
                      <a:pt x="12666" y="4446"/>
                    </a:cubicBezTo>
                    <a:cubicBezTo>
                      <a:pt x="13212" y="4917"/>
                      <a:pt x="13647" y="5563"/>
                      <a:pt x="13959" y="6309"/>
                    </a:cubicBezTo>
                    <a:lnTo>
                      <a:pt x="14252" y="7122"/>
                    </a:lnTo>
                    <a:cubicBezTo>
                      <a:pt x="14667" y="8645"/>
                      <a:pt x="14622" y="10427"/>
                      <a:pt x="14025" y="11960"/>
                    </a:cubicBezTo>
                    <a:cubicBezTo>
                      <a:pt x="13302" y="13814"/>
                      <a:pt x="11964" y="14810"/>
                      <a:pt x="10616" y="14709"/>
                    </a:cubicBezTo>
                    <a:cubicBezTo>
                      <a:pt x="11349" y="14776"/>
                      <a:pt x="13289" y="14659"/>
                      <a:pt x="15723" y="12160"/>
                    </a:cubicBezTo>
                    <a:cubicBezTo>
                      <a:pt x="17039" y="10810"/>
                      <a:pt x="17856" y="9339"/>
                      <a:pt x="18360" y="8130"/>
                    </a:cubicBezTo>
                    <a:lnTo>
                      <a:pt x="18380" y="8181"/>
                    </a:lnTo>
                    <a:lnTo>
                      <a:pt x="21600" y="0"/>
                    </a:lnTo>
                    <a:close/>
                    <a:moveTo>
                      <a:pt x="10616" y="14709"/>
                    </a:moveTo>
                    <a:cubicBezTo>
                      <a:pt x="10570" y="14705"/>
                      <a:pt x="10525" y="14701"/>
                      <a:pt x="10480" y="14695"/>
                    </a:cubicBezTo>
                    <a:cubicBezTo>
                      <a:pt x="10435" y="14689"/>
                      <a:pt x="10390" y="14682"/>
                      <a:pt x="10345" y="14674"/>
                    </a:cubicBezTo>
                    <a:cubicBezTo>
                      <a:pt x="10371" y="14679"/>
                      <a:pt x="10408" y="14685"/>
                      <a:pt x="10454" y="14691"/>
                    </a:cubicBezTo>
                    <a:cubicBezTo>
                      <a:pt x="10500" y="14697"/>
                      <a:pt x="10555" y="14703"/>
                      <a:pt x="10616" y="14709"/>
                    </a:cubicBezTo>
                    <a:close/>
                    <a:moveTo>
                      <a:pt x="13959" y="6309"/>
                    </a:moveTo>
                    <a:cubicBezTo>
                      <a:pt x="13966" y="6328"/>
                      <a:pt x="13975" y="6348"/>
                      <a:pt x="13983" y="6367"/>
                    </a:cubicBezTo>
                    <a:cubicBezTo>
                      <a:pt x="13991" y="6387"/>
                      <a:pt x="13999" y="6407"/>
                      <a:pt x="14006" y="6425"/>
                    </a:cubicBezTo>
                    <a:cubicBezTo>
                      <a:pt x="13998" y="6405"/>
                      <a:pt x="13990" y="6386"/>
                      <a:pt x="13982" y="6366"/>
                    </a:cubicBezTo>
                    <a:cubicBezTo>
                      <a:pt x="13975" y="6347"/>
                      <a:pt x="13967" y="6328"/>
                      <a:pt x="13959" y="6309"/>
                    </a:cubicBezTo>
                    <a:close/>
                    <a:moveTo>
                      <a:pt x="14006" y="6425"/>
                    </a:moveTo>
                    <a:cubicBezTo>
                      <a:pt x="14023" y="6469"/>
                      <a:pt x="14040" y="6513"/>
                      <a:pt x="14057" y="6558"/>
                    </a:cubicBezTo>
                    <a:cubicBezTo>
                      <a:pt x="14074" y="6603"/>
                      <a:pt x="14090" y="6648"/>
                      <a:pt x="14106" y="6694"/>
                    </a:cubicBezTo>
                    <a:cubicBezTo>
                      <a:pt x="14092" y="6653"/>
                      <a:pt x="14076" y="6611"/>
                      <a:pt x="14060" y="6566"/>
                    </a:cubicBezTo>
                    <a:cubicBezTo>
                      <a:pt x="14043" y="6522"/>
                      <a:pt x="14025" y="6475"/>
                      <a:pt x="14006" y="6425"/>
                    </a:cubicBezTo>
                    <a:close/>
                    <a:moveTo>
                      <a:pt x="14106" y="6694"/>
                    </a:moveTo>
                    <a:cubicBezTo>
                      <a:pt x="14115" y="6722"/>
                      <a:pt x="14123" y="6747"/>
                      <a:pt x="14131" y="6771"/>
                    </a:cubicBezTo>
                    <a:cubicBezTo>
                      <a:pt x="14139" y="6796"/>
                      <a:pt x="14146" y="6819"/>
                      <a:pt x="14154" y="6842"/>
                    </a:cubicBezTo>
                    <a:cubicBezTo>
                      <a:pt x="14146" y="6817"/>
                      <a:pt x="14138" y="6792"/>
                      <a:pt x="14130" y="6768"/>
                    </a:cubicBezTo>
                    <a:cubicBezTo>
                      <a:pt x="14122" y="6743"/>
                      <a:pt x="14114" y="6718"/>
                      <a:pt x="14106" y="6694"/>
                    </a:cubicBezTo>
                    <a:close/>
                    <a:moveTo>
                      <a:pt x="14154" y="6842"/>
                    </a:moveTo>
                    <a:cubicBezTo>
                      <a:pt x="14170" y="6893"/>
                      <a:pt x="14187" y="6945"/>
                      <a:pt x="14203" y="6997"/>
                    </a:cubicBezTo>
                    <a:cubicBezTo>
                      <a:pt x="14219" y="7049"/>
                      <a:pt x="14235" y="7101"/>
                      <a:pt x="14249" y="7154"/>
                    </a:cubicBezTo>
                    <a:cubicBezTo>
                      <a:pt x="14248" y="7151"/>
                      <a:pt x="14238" y="7117"/>
                      <a:pt x="14222" y="7062"/>
                    </a:cubicBezTo>
                    <a:cubicBezTo>
                      <a:pt x="14205" y="7007"/>
                      <a:pt x="14182" y="6930"/>
                      <a:pt x="14154" y="6842"/>
                    </a:cubicBezTo>
                    <a:close/>
                  </a:path>
                </a:pathLst>
              </a:custGeom>
              <a:solidFill>
                <a:schemeClr val="accent2"/>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Bef>
                    <a:spcPct val="0"/>
                  </a:spcBef>
                </a:pPr>
                <a:endParaRPr dirty="0"/>
              </a:p>
            </p:txBody>
          </p:sp>
          <p:sp>
            <p:nvSpPr>
              <p:cNvPr id="81" name="îśḻîḋé">
                <a:extLst>
                  <a:ext uri="{FF2B5EF4-FFF2-40B4-BE49-F238E27FC236}">
                    <a16:creationId xmlns:a16="http://schemas.microsoft.com/office/drawing/2014/main" id="{FB8110E2-8515-4233-8F8D-0269161515FB}"/>
                  </a:ext>
                </a:extLst>
              </p:cNvPr>
              <p:cNvSpPr/>
              <p:nvPr/>
            </p:nvSpPr>
            <p:spPr>
              <a:xfrm>
                <a:off x="4102993" y="2685440"/>
                <a:ext cx="2637236" cy="2692754"/>
              </a:xfrm>
              <a:custGeom>
                <a:avLst/>
                <a:gdLst/>
                <a:ahLst/>
                <a:cxnLst>
                  <a:cxn ang="0">
                    <a:pos x="wd2" y="hd2"/>
                  </a:cxn>
                  <a:cxn ang="5400000">
                    <a:pos x="wd2" y="hd2"/>
                  </a:cxn>
                  <a:cxn ang="10800000">
                    <a:pos x="wd2" y="hd2"/>
                  </a:cxn>
                  <a:cxn ang="16200000">
                    <a:pos x="wd2" y="hd2"/>
                  </a:cxn>
                </a:cxnLst>
                <a:rect l="0" t="0" r="r" b="b"/>
                <a:pathLst>
                  <a:path w="21600" h="21518" extrusionOk="0">
                    <a:moveTo>
                      <a:pt x="0" y="5"/>
                    </a:moveTo>
                    <a:lnTo>
                      <a:pt x="11501" y="19431"/>
                    </a:lnTo>
                    <a:cubicBezTo>
                      <a:pt x="11756" y="19862"/>
                      <a:pt x="12026" y="20251"/>
                      <a:pt x="12309" y="20599"/>
                    </a:cubicBezTo>
                    <a:cubicBezTo>
                      <a:pt x="12593" y="20947"/>
                      <a:pt x="12888" y="21253"/>
                      <a:pt x="13193" y="21518"/>
                    </a:cubicBezTo>
                    <a:lnTo>
                      <a:pt x="13197" y="21516"/>
                    </a:lnTo>
                    <a:cubicBezTo>
                      <a:pt x="13187" y="21505"/>
                      <a:pt x="10466" y="19115"/>
                      <a:pt x="10026" y="14012"/>
                    </a:cubicBezTo>
                    <a:cubicBezTo>
                      <a:pt x="9558" y="8579"/>
                      <a:pt x="11796" y="5939"/>
                      <a:pt x="11926" y="5788"/>
                    </a:cubicBezTo>
                    <a:cubicBezTo>
                      <a:pt x="13639" y="3662"/>
                      <a:pt x="16736" y="3035"/>
                      <a:pt x="19199" y="4429"/>
                    </a:cubicBezTo>
                    <a:cubicBezTo>
                      <a:pt x="20329" y="5068"/>
                      <a:pt x="21145" y="6031"/>
                      <a:pt x="21600" y="7127"/>
                    </a:cubicBezTo>
                    <a:cubicBezTo>
                      <a:pt x="21580" y="7093"/>
                      <a:pt x="20417" y="3812"/>
                      <a:pt x="15292" y="1443"/>
                    </a:cubicBezTo>
                    <a:cubicBezTo>
                      <a:pt x="12269" y="46"/>
                      <a:pt x="9822" y="-82"/>
                      <a:pt x="8334" y="32"/>
                    </a:cubicBezTo>
                    <a:lnTo>
                      <a:pt x="0" y="5"/>
                    </a:lnTo>
                    <a:close/>
                  </a:path>
                </a:pathLst>
              </a:custGeom>
              <a:solidFill>
                <a:schemeClr val="accent1">
                  <a:lumMod val="75000"/>
                </a:schemeClr>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Bef>
                    <a:spcPct val="0"/>
                  </a:spcBef>
                </a:pPr>
                <a:endParaRPr dirty="0"/>
              </a:p>
            </p:txBody>
          </p:sp>
          <p:sp>
            <p:nvSpPr>
              <p:cNvPr id="82" name="îšľide">
                <a:extLst>
                  <a:ext uri="{FF2B5EF4-FFF2-40B4-BE49-F238E27FC236}">
                    <a16:creationId xmlns:a16="http://schemas.microsoft.com/office/drawing/2014/main" id="{6A689ABE-11AF-47BE-B8E5-E31C808AF1BE}"/>
                  </a:ext>
                </a:extLst>
              </p:cNvPr>
              <p:cNvSpPr/>
              <p:nvPr/>
            </p:nvSpPr>
            <p:spPr>
              <a:xfrm>
                <a:off x="4778646" y="3036557"/>
                <a:ext cx="545360" cy="434268"/>
              </a:xfrm>
              <a:custGeom>
                <a:avLst/>
                <a:gdLst>
                  <a:gd name="connsiteX0" fmla="*/ 485775 w 514350"/>
                  <a:gd name="connsiteY0" fmla="*/ 0 h 409575"/>
                  <a:gd name="connsiteX1" fmla="*/ 514350 w 514350"/>
                  <a:gd name="connsiteY1" fmla="*/ 28575 h 409575"/>
                  <a:gd name="connsiteX2" fmla="*/ 514350 w 514350"/>
                  <a:gd name="connsiteY2" fmla="*/ 323850 h 409575"/>
                  <a:gd name="connsiteX3" fmla="*/ 485775 w 514350"/>
                  <a:gd name="connsiteY3" fmla="*/ 352425 h 409575"/>
                  <a:gd name="connsiteX4" fmla="*/ 191167 w 514350"/>
                  <a:gd name="connsiteY4" fmla="*/ 352425 h 409575"/>
                  <a:gd name="connsiteX5" fmla="*/ 114395 w 514350"/>
                  <a:gd name="connsiteY5" fmla="*/ 409575 h 409575"/>
                  <a:gd name="connsiteX6" fmla="*/ 114395 w 514350"/>
                  <a:gd name="connsiteY6" fmla="*/ 352425 h 409575"/>
                  <a:gd name="connsiteX7" fmla="*/ 28575 w 514350"/>
                  <a:gd name="connsiteY7" fmla="*/ 352425 h 409575"/>
                  <a:gd name="connsiteX8" fmla="*/ 0 w 514350"/>
                  <a:gd name="connsiteY8" fmla="*/ 323850 h 409575"/>
                  <a:gd name="connsiteX9" fmla="*/ 0 w 514350"/>
                  <a:gd name="connsiteY9" fmla="*/ 28575 h 409575"/>
                  <a:gd name="connsiteX10" fmla="*/ 28575 w 514350"/>
                  <a:gd name="connsiteY10" fmla="*/ 0 h 409575"/>
                  <a:gd name="connsiteX11" fmla="*/ 485775 w 514350"/>
                  <a:gd name="connsiteY11" fmla="*/ 0 h 409575"/>
                  <a:gd name="connsiteX12" fmla="*/ 123825 w 514350"/>
                  <a:gd name="connsiteY12" fmla="*/ 142875 h 409575"/>
                  <a:gd name="connsiteX13" fmla="*/ 90488 w 514350"/>
                  <a:gd name="connsiteY13" fmla="*/ 176213 h 409575"/>
                  <a:gd name="connsiteX14" fmla="*/ 123825 w 514350"/>
                  <a:gd name="connsiteY14" fmla="*/ 209550 h 409575"/>
                  <a:gd name="connsiteX15" fmla="*/ 157163 w 514350"/>
                  <a:gd name="connsiteY15" fmla="*/ 176213 h 409575"/>
                  <a:gd name="connsiteX16" fmla="*/ 123825 w 514350"/>
                  <a:gd name="connsiteY16" fmla="*/ 142875 h 409575"/>
                  <a:gd name="connsiteX17" fmla="*/ 257175 w 514350"/>
                  <a:gd name="connsiteY17" fmla="*/ 142875 h 409575"/>
                  <a:gd name="connsiteX18" fmla="*/ 223838 w 514350"/>
                  <a:gd name="connsiteY18" fmla="*/ 176213 h 409575"/>
                  <a:gd name="connsiteX19" fmla="*/ 257175 w 514350"/>
                  <a:gd name="connsiteY19" fmla="*/ 209550 h 409575"/>
                  <a:gd name="connsiteX20" fmla="*/ 290513 w 514350"/>
                  <a:gd name="connsiteY20" fmla="*/ 176213 h 409575"/>
                  <a:gd name="connsiteX21" fmla="*/ 257175 w 514350"/>
                  <a:gd name="connsiteY21" fmla="*/ 142875 h 409575"/>
                  <a:gd name="connsiteX22" fmla="*/ 390525 w 514350"/>
                  <a:gd name="connsiteY22" fmla="*/ 142875 h 409575"/>
                  <a:gd name="connsiteX23" fmla="*/ 357188 w 514350"/>
                  <a:gd name="connsiteY23" fmla="*/ 176213 h 409575"/>
                  <a:gd name="connsiteX24" fmla="*/ 390525 w 514350"/>
                  <a:gd name="connsiteY24" fmla="*/ 209550 h 409575"/>
                  <a:gd name="connsiteX25" fmla="*/ 423863 w 514350"/>
                  <a:gd name="connsiteY25" fmla="*/ 176213 h 409575"/>
                  <a:gd name="connsiteX26" fmla="*/ 390525 w 514350"/>
                  <a:gd name="connsiteY26" fmla="*/ 142875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14350" h="409575">
                    <a:moveTo>
                      <a:pt x="485775" y="0"/>
                    </a:moveTo>
                    <a:cubicBezTo>
                      <a:pt x="501586" y="0"/>
                      <a:pt x="514350" y="12764"/>
                      <a:pt x="514350" y="28575"/>
                    </a:cubicBezTo>
                    <a:lnTo>
                      <a:pt x="514350" y="323850"/>
                    </a:lnTo>
                    <a:cubicBezTo>
                      <a:pt x="514350" y="339662"/>
                      <a:pt x="501586" y="352425"/>
                      <a:pt x="485775" y="352425"/>
                    </a:cubicBezTo>
                    <a:lnTo>
                      <a:pt x="191167" y="352425"/>
                    </a:lnTo>
                    <a:lnTo>
                      <a:pt x="114395" y="409575"/>
                    </a:lnTo>
                    <a:lnTo>
                      <a:pt x="114395" y="352425"/>
                    </a:lnTo>
                    <a:lnTo>
                      <a:pt x="28575" y="352425"/>
                    </a:lnTo>
                    <a:cubicBezTo>
                      <a:pt x="12764" y="352425"/>
                      <a:pt x="0" y="339662"/>
                      <a:pt x="0" y="323850"/>
                    </a:cubicBezTo>
                    <a:lnTo>
                      <a:pt x="0" y="28575"/>
                    </a:lnTo>
                    <a:cubicBezTo>
                      <a:pt x="0" y="12764"/>
                      <a:pt x="12764" y="0"/>
                      <a:pt x="28575" y="0"/>
                    </a:cubicBezTo>
                    <a:lnTo>
                      <a:pt x="485775" y="0"/>
                    </a:lnTo>
                    <a:close/>
                    <a:moveTo>
                      <a:pt x="123825" y="142875"/>
                    </a:moveTo>
                    <a:cubicBezTo>
                      <a:pt x="105442" y="142875"/>
                      <a:pt x="90488" y="157829"/>
                      <a:pt x="90488" y="176213"/>
                    </a:cubicBezTo>
                    <a:cubicBezTo>
                      <a:pt x="90488" y="194596"/>
                      <a:pt x="105442" y="209550"/>
                      <a:pt x="123825" y="209550"/>
                    </a:cubicBezTo>
                    <a:cubicBezTo>
                      <a:pt x="142208" y="209550"/>
                      <a:pt x="157163" y="194596"/>
                      <a:pt x="157163" y="176213"/>
                    </a:cubicBezTo>
                    <a:cubicBezTo>
                      <a:pt x="157163" y="157829"/>
                      <a:pt x="142208" y="142875"/>
                      <a:pt x="123825" y="142875"/>
                    </a:cubicBezTo>
                    <a:close/>
                    <a:moveTo>
                      <a:pt x="257175" y="142875"/>
                    </a:moveTo>
                    <a:cubicBezTo>
                      <a:pt x="238792" y="142875"/>
                      <a:pt x="223838" y="157829"/>
                      <a:pt x="223838" y="176213"/>
                    </a:cubicBezTo>
                    <a:cubicBezTo>
                      <a:pt x="223838" y="194596"/>
                      <a:pt x="238792" y="209550"/>
                      <a:pt x="257175" y="209550"/>
                    </a:cubicBezTo>
                    <a:cubicBezTo>
                      <a:pt x="275558" y="209550"/>
                      <a:pt x="290513" y="194596"/>
                      <a:pt x="290513" y="176213"/>
                    </a:cubicBezTo>
                    <a:cubicBezTo>
                      <a:pt x="290513" y="157829"/>
                      <a:pt x="275558" y="142875"/>
                      <a:pt x="257175" y="142875"/>
                    </a:cubicBezTo>
                    <a:close/>
                    <a:moveTo>
                      <a:pt x="390525" y="142875"/>
                    </a:moveTo>
                    <a:cubicBezTo>
                      <a:pt x="372142" y="142875"/>
                      <a:pt x="357188" y="157829"/>
                      <a:pt x="357188" y="176213"/>
                    </a:cubicBezTo>
                    <a:cubicBezTo>
                      <a:pt x="357188" y="194596"/>
                      <a:pt x="372142" y="209550"/>
                      <a:pt x="390525" y="209550"/>
                    </a:cubicBezTo>
                    <a:cubicBezTo>
                      <a:pt x="408908" y="209550"/>
                      <a:pt x="423863" y="194596"/>
                      <a:pt x="423863" y="176213"/>
                    </a:cubicBezTo>
                    <a:cubicBezTo>
                      <a:pt x="423863" y="157829"/>
                      <a:pt x="408908" y="142875"/>
                      <a:pt x="390525" y="142875"/>
                    </a:cubicBezTo>
                    <a:close/>
                  </a:path>
                </a:pathLst>
              </a:custGeom>
              <a:solidFill>
                <a:schemeClr val="bg1"/>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54"/>
                <a:endParaRPr lang="zh-CN" altLang="en-US" sz="2000" b="1" i="1">
                  <a:solidFill>
                    <a:schemeClr val="tx1"/>
                  </a:solidFill>
                </a:endParaRPr>
              </a:p>
            </p:txBody>
          </p:sp>
          <p:sp>
            <p:nvSpPr>
              <p:cNvPr id="83" name="í$ḷïḑe">
                <a:extLst>
                  <a:ext uri="{FF2B5EF4-FFF2-40B4-BE49-F238E27FC236}">
                    <a16:creationId xmlns:a16="http://schemas.microsoft.com/office/drawing/2014/main" id="{17ACD54A-8737-44E7-B8AB-45737B18E601}"/>
                  </a:ext>
                </a:extLst>
              </p:cNvPr>
              <p:cNvSpPr/>
              <p:nvPr/>
            </p:nvSpPr>
            <p:spPr>
              <a:xfrm>
                <a:off x="6902106" y="2986614"/>
                <a:ext cx="496722" cy="534156"/>
              </a:xfrm>
              <a:custGeom>
                <a:avLst/>
                <a:gdLst>
                  <a:gd name="connsiteX0" fmla="*/ 8038 w 487162"/>
                  <a:gd name="connsiteY0" fmla="*/ 513398 h 523875"/>
                  <a:gd name="connsiteX1" fmla="*/ 7467 w 487162"/>
                  <a:gd name="connsiteY1" fmla="*/ 512731 h 523875"/>
                  <a:gd name="connsiteX2" fmla="*/ 7467 w 487162"/>
                  <a:gd name="connsiteY2" fmla="*/ 512731 h 523875"/>
                  <a:gd name="connsiteX3" fmla="*/ 6991 w 487162"/>
                  <a:gd name="connsiteY3" fmla="*/ 512064 h 523875"/>
                  <a:gd name="connsiteX4" fmla="*/ 4990 w 487162"/>
                  <a:gd name="connsiteY4" fmla="*/ 509016 h 523875"/>
                  <a:gd name="connsiteX5" fmla="*/ 4990 w 487162"/>
                  <a:gd name="connsiteY5" fmla="*/ 509016 h 523875"/>
                  <a:gd name="connsiteX6" fmla="*/ 4514 w 487162"/>
                  <a:gd name="connsiteY6" fmla="*/ 508254 h 523875"/>
                  <a:gd name="connsiteX7" fmla="*/ 3752 w 487162"/>
                  <a:gd name="connsiteY7" fmla="*/ 506730 h 523875"/>
                  <a:gd name="connsiteX8" fmla="*/ 3085 w 487162"/>
                  <a:gd name="connsiteY8" fmla="*/ 505111 h 523875"/>
                  <a:gd name="connsiteX9" fmla="*/ 2990 w 487162"/>
                  <a:gd name="connsiteY9" fmla="*/ 504920 h 523875"/>
                  <a:gd name="connsiteX10" fmla="*/ 2895 w 487162"/>
                  <a:gd name="connsiteY10" fmla="*/ 504635 h 523875"/>
                  <a:gd name="connsiteX11" fmla="*/ 2895 w 487162"/>
                  <a:gd name="connsiteY11" fmla="*/ 504444 h 523875"/>
                  <a:gd name="connsiteX12" fmla="*/ 2228 w 487162"/>
                  <a:gd name="connsiteY12" fmla="*/ 502444 h 523875"/>
                  <a:gd name="connsiteX13" fmla="*/ 1847 w 487162"/>
                  <a:gd name="connsiteY13" fmla="*/ 501110 h 523875"/>
                  <a:gd name="connsiteX14" fmla="*/ 1371 w 487162"/>
                  <a:gd name="connsiteY14" fmla="*/ 499205 h 523875"/>
                  <a:gd name="connsiteX15" fmla="*/ 514 w 487162"/>
                  <a:gd name="connsiteY15" fmla="*/ 494919 h 523875"/>
                  <a:gd name="connsiteX16" fmla="*/ 228 w 487162"/>
                  <a:gd name="connsiteY16" fmla="*/ 492443 h 523875"/>
                  <a:gd name="connsiteX17" fmla="*/ 37 w 487162"/>
                  <a:gd name="connsiteY17" fmla="*/ 485870 h 523875"/>
                  <a:gd name="connsiteX18" fmla="*/ 4609 w 487162"/>
                  <a:gd name="connsiteY18" fmla="*/ 467582 h 523875"/>
                  <a:gd name="connsiteX19" fmla="*/ 154247 w 487162"/>
                  <a:gd name="connsiteY19" fmla="*/ 150876 h 523875"/>
                  <a:gd name="connsiteX20" fmla="*/ 157867 w 487162"/>
                  <a:gd name="connsiteY20" fmla="*/ 134588 h 523875"/>
                  <a:gd name="connsiteX21" fmla="*/ 157867 w 487162"/>
                  <a:gd name="connsiteY21" fmla="*/ 19050 h 523875"/>
                  <a:gd name="connsiteX22" fmla="*/ 119767 w 487162"/>
                  <a:gd name="connsiteY22" fmla="*/ 19050 h 523875"/>
                  <a:gd name="connsiteX23" fmla="*/ 119767 w 487162"/>
                  <a:gd name="connsiteY23" fmla="*/ 0 h 523875"/>
                  <a:gd name="connsiteX24" fmla="*/ 367417 w 487162"/>
                  <a:gd name="connsiteY24" fmla="*/ 0 h 523875"/>
                  <a:gd name="connsiteX25" fmla="*/ 367417 w 487162"/>
                  <a:gd name="connsiteY25" fmla="*/ 19050 h 523875"/>
                  <a:gd name="connsiteX26" fmla="*/ 329317 w 487162"/>
                  <a:gd name="connsiteY26" fmla="*/ 19050 h 523875"/>
                  <a:gd name="connsiteX27" fmla="*/ 329317 w 487162"/>
                  <a:gd name="connsiteY27" fmla="*/ 134684 h 523875"/>
                  <a:gd name="connsiteX28" fmla="*/ 332936 w 487162"/>
                  <a:gd name="connsiteY28" fmla="*/ 150971 h 523875"/>
                  <a:gd name="connsiteX29" fmla="*/ 482574 w 487162"/>
                  <a:gd name="connsiteY29" fmla="*/ 467678 h 523875"/>
                  <a:gd name="connsiteX30" fmla="*/ 484098 w 487162"/>
                  <a:gd name="connsiteY30" fmla="*/ 504920 h 523875"/>
                  <a:gd name="connsiteX31" fmla="*/ 484003 w 487162"/>
                  <a:gd name="connsiteY31" fmla="*/ 505111 h 523875"/>
                  <a:gd name="connsiteX32" fmla="*/ 483431 w 487162"/>
                  <a:gd name="connsiteY32" fmla="*/ 506540 h 523875"/>
                  <a:gd name="connsiteX33" fmla="*/ 458571 w 487162"/>
                  <a:gd name="connsiteY33" fmla="*/ 523780 h 523875"/>
                  <a:gd name="connsiteX34" fmla="*/ 456666 w 487162"/>
                  <a:gd name="connsiteY34" fmla="*/ 523875 h 523875"/>
                  <a:gd name="connsiteX35" fmla="*/ 30422 w 487162"/>
                  <a:gd name="connsiteY35" fmla="*/ 523875 h 523875"/>
                  <a:gd name="connsiteX36" fmla="*/ 28612 w 487162"/>
                  <a:gd name="connsiteY36" fmla="*/ 523780 h 523875"/>
                  <a:gd name="connsiteX37" fmla="*/ 26136 w 487162"/>
                  <a:gd name="connsiteY37" fmla="*/ 523494 h 523875"/>
                  <a:gd name="connsiteX38" fmla="*/ 22326 w 487162"/>
                  <a:gd name="connsiteY38" fmla="*/ 522637 h 523875"/>
                  <a:gd name="connsiteX39" fmla="*/ 22326 w 487162"/>
                  <a:gd name="connsiteY39" fmla="*/ 522637 h 523875"/>
                  <a:gd name="connsiteX40" fmla="*/ 16801 w 487162"/>
                  <a:gd name="connsiteY40" fmla="*/ 520351 h 523875"/>
                  <a:gd name="connsiteX41" fmla="*/ 15373 w 487162"/>
                  <a:gd name="connsiteY41" fmla="*/ 519589 h 523875"/>
                  <a:gd name="connsiteX42" fmla="*/ 14420 w 487162"/>
                  <a:gd name="connsiteY42" fmla="*/ 519017 h 523875"/>
                  <a:gd name="connsiteX43" fmla="*/ 9467 w 487162"/>
                  <a:gd name="connsiteY43" fmla="*/ 514922 h 523875"/>
                  <a:gd name="connsiteX44" fmla="*/ 8038 w 487162"/>
                  <a:gd name="connsiteY44" fmla="*/ 513398 h 523875"/>
                  <a:gd name="connsiteX45" fmla="*/ 8038 w 487162"/>
                  <a:gd name="connsiteY45" fmla="*/ 513398 h 523875"/>
                  <a:gd name="connsiteX46" fmla="*/ 254641 w 487162"/>
                  <a:gd name="connsiteY46" fmla="*/ 404146 h 523875"/>
                  <a:gd name="connsiteX47" fmla="*/ 251783 w 487162"/>
                  <a:gd name="connsiteY47" fmla="*/ 405956 h 523875"/>
                  <a:gd name="connsiteX48" fmla="*/ 246259 w 487162"/>
                  <a:gd name="connsiteY48" fmla="*/ 409670 h 523875"/>
                  <a:gd name="connsiteX49" fmla="*/ 54425 w 487162"/>
                  <a:gd name="connsiteY49" fmla="*/ 416243 h 523875"/>
                  <a:gd name="connsiteX50" fmla="*/ 50615 w 487162"/>
                  <a:gd name="connsiteY50" fmla="*/ 414719 h 523875"/>
                  <a:gd name="connsiteX51" fmla="*/ 21754 w 487162"/>
                  <a:gd name="connsiteY51" fmla="*/ 475774 h 523875"/>
                  <a:gd name="connsiteX52" fmla="*/ 20897 w 487162"/>
                  <a:gd name="connsiteY52" fmla="*/ 477679 h 523875"/>
                  <a:gd name="connsiteX53" fmla="*/ 20802 w 487162"/>
                  <a:gd name="connsiteY53" fmla="*/ 498158 h 523875"/>
                  <a:gd name="connsiteX54" fmla="*/ 27945 w 487162"/>
                  <a:gd name="connsiteY54" fmla="*/ 504444 h 523875"/>
                  <a:gd name="connsiteX55" fmla="*/ 29184 w 487162"/>
                  <a:gd name="connsiteY55" fmla="*/ 504635 h 523875"/>
                  <a:gd name="connsiteX56" fmla="*/ 30327 w 487162"/>
                  <a:gd name="connsiteY56" fmla="*/ 504730 h 523875"/>
                  <a:gd name="connsiteX57" fmla="*/ 456570 w 487162"/>
                  <a:gd name="connsiteY57" fmla="*/ 504730 h 523875"/>
                  <a:gd name="connsiteX58" fmla="*/ 457714 w 487162"/>
                  <a:gd name="connsiteY58" fmla="*/ 504635 h 523875"/>
                  <a:gd name="connsiteX59" fmla="*/ 466095 w 487162"/>
                  <a:gd name="connsiteY59" fmla="*/ 498062 h 523875"/>
                  <a:gd name="connsiteX60" fmla="*/ 466667 w 487162"/>
                  <a:gd name="connsiteY60" fmla="*/ 479584 h 523875"/>
                  <a:gd name="connsiteX61" fmla="*/ 466000 w 487162"/>
                  <a:gd name="connsiteY61" fmla="*/ 477584 h 523875"/>
                  <a:gd name="connsiteX62" fmla="*/ 465143 w 487162"/>
                  <a:gd name="connsiteY62" fmla="*/ 475679 h 523875"/>
                  <a:gd name="connsiteX63" fmla="*/ 423519 w 487162"/>
                  <a:gd name="connsiteY63" fmla="*/ 387477 h 523875"/>
                  <a:gd name="connsiteX64" fmla="*/ 254641 w 487162"/>
                  <a:gd name="connsiteY64" fmla="*/ 404146 h 523875"/>
                  <a:gd name="connsiteX65" fmla="*/ 305504 w 487162"/>
                  <a:gd name="connsiteY65" fmla="*/ 257175 h 523875"/>
                  <a:gd name="connsiteX66" fmla="*/ 272167 w 487162"/>
                  <a:gd name="connsiteY66" fmla="*/ 290513 h 523875"/>
                  <a:gd name="connsiteX67" fmla="*/ 305504 w 487162"/>
                  <a:gd name="connsiteY67" fmla="*/ 323850 h 523875"/>
                  <a:gd name="connsiteX68" fmla="*/ 338842 w 487162"/>
                  <a:gd name="connsiteY68" fmla="*/ 290513 h 523875"/>
                  <a:gd name="connsiteX69" fmla="*/ 305504 w 487162"/>
                  <a:gd name="connsiteY69" fmla="*/ 257175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87162" h="523875">
                    <a:moveTo>
                      <a:pt x="8038" y="513398"/>
                    </a:moveTo>
                    <a:lnTo>
                      <a:pt x="7467" y="512731"/>
                    </a:lnTo>
                    <a:lnTo>
                      <a:pt x="7467" y="512731"/>
                    </a:lnTo>
                    <a:lnTo>
                      <a:pt x="6991" y="512064"/>
                    </a:lnTo>
                    <a:cubicBezTo>
                      <a:pt x="6228" y="511112"/>
                      <a:pt x="5657" y="510064"/>
                      <a:pt x="4990" y="509016"/>
                    </a:cubicBezTo>
                    <a:lnTo>
                      <a:pt x="4990" y="509016"/>
                    </a:lnTo>
                    <a:lnTo>
                      <a:pt x="4514" y="508254"/>
                    </a:lnTo>
                    <a:lnTo>
                      <a:pt x="3752" y="506730"/>
                    </a:lnTo>
                    <a:lnTo>
                      <a:pt x="3085" y="505111"/>
                    </a:lnTo>
                    <a:lnTo>
                      <a:pt x="2990" y="504920"/>
                    </a:lnTo>
                    <a:lnTo>
                      <a:pt x="2895" y="504635"/>
                    </a:lnTo>
                    <a:lnTo>
                      <a:pt x="2895" y="504444"/>
                    </a:lnTo>
                    <a:lnTo>
                      <a:pt x="2228" y="502444"/>
                    </a:lnTo>
                    <a:cubicBezTo>
                      <a:pt x="2133" y="501968"/>
                      <a:pt x="1942" y="501587"/>
                      <a:pt x="1847" y="501110"/>
                    </a:cubicBezTo>
                    <a:cubicBezTo>
                      <a:pt x="1657" y="500444"/>
                      <a:pt x="1466" y="499872"/>
                      <a:pt x="1371" y="499205"/>
                    </a:cubicBezTo>
                    <a:cubicBezTo>
                      <a:pt x="990" y="497776"/>
                      <a:pt x="799" y="496348"/>
                      <a:pt x="514" y="494919"/>
                    </a:cubicBezTo>
                    <a:lnTo>
                      <a:pt x="228" y="492443"/>
                    </a:lnTo>
                    <a:cubicBezTo>
                      <a:pt x="37" y="490252"/>
                      <a:pt x="-58" y="488061"/>
                      <a:pt x="37" y="485870"/>
                    </a:cubicBezTo>
                    <a:cubicBezTo>
                      <a:pt x="323" y="479584"/>
                      <a:pt x="1847" y="473393"/>
                      <a:pt x="4609" y="467582"/>
                    </a:cubicBezTo>
                    <a:lnTo>
                      <a:pt x="154247" y="150876"/>
                    </a:lnTo>
                    <a:cubicBezTo>
                      <a:pt x="156628" y="145828"/>
                      <a:pt x="157867" y="140208"/>
                      <a:pt x="157867" y="134588"/>
                    </a:cubicBezTo>
                    <a:lnTo>
                      <a:pt x="157867" y="19050"/>
                    </a:lnTo>
                    <a:lnTo>
                      <a:pt x="119767" y="19050"/>
                    </a:lnTo>
                    <a:lnTo>
                      <a:pt x="119767" y="0"/>
                    </a:lnTo>
                    <a:lnTo>
                      <a:pt x="367417" y="0"/>
                    </a:lnTo>
                    <a:lnTo>
                      <a:pt x="367417" y="19050"/>
                    </a:lnTo>
                    <a:lnTo>
                      <a:pt x="329317" y="19050"/>
                    </a:lnTo>
                    <a:lnTo>
                      <a:pt x="329317" y="134684"/>
                    </a:lnTo>
                    <a:cubicBezTo>
                      <a:pt x="329317" y="140303"/>
                      <a:pt x="330555" y="145828"/>
                      <a:pt x="332936" y="150971"/>
                    </a:cubicBezTo>
                    <a:lnTo>
                      <a:pt x="482574" y="467678"/>
                    </a:lnTo>
                    <a:cubicBezTo>
                      <a:pt x="488098" y="479393"/>
                      <a:pt x="488670" y="492824"/>
                      <a:pt x="484098" y="504920"/>
                    </a:cubicBezTo>
                    <a:lnTo>
                      <a:pt x="484003" y="505111"/>
                    </a:lnTo>
                    <a:lnTo>
                      <a:pt x="483431" y="506540"/>
                    </a:lnTo>
                    <a:cubicBezTo>
                      <a:pt x="478954" y="516446"/>
                      <a:pt x="469429" y="523113"/>
                      <a:pt x="458571" y="523780"/>
                    </a:cubicBezTo>
                    <a:lnTo>
                      <a:pt x="456666" y="523875"/>
                    </a:lnTo>
                    <a:lnTo>
                      <a:pt x="30422" y="523875"/>
                    </a:lnTo>
                    <a:lnTo>
                      <a:pt x="28612" y="523780"/>
                    </a:lnTo>
                    <a:cubicBezTo>
                      <a:pt x="27755" y="523685"/>
                      <a:pt x="26993" y="523685"/>
                      <a:pt x="26136" y="523494"/>
                    </a:cubicBezTo>
                    <a:cubicBezTo>
                      <a:pt x="24802" y="523304"/>
                      <a:pt x="23564" y="523018"/>
                      <a:pt x="22326" y="522637"/>
                    </a:cubicBezTo>
                    <a:lnTo>
                      <a:pt x="22326" y="522637"/>
                    </a:lnTo>
                    <a:cubicBezTo>
                      <a:pt x="20421" y="522065"/>
                      <a:pt x="18516" y="521303"/>
                      <a:pt x="16801" y="520351"/>
                    </a:cubicBezTo>
                    <a:lnTo>
                      <a:pt x="15373" y="519589"/>
                    </a:lnTo>
                    <a:cubicBezTo>
                      <a:pt x="15087" y="519398"/>
                      <a:pt x="14801" y="519208"/>
                      <a:pt x="14420" y="519017"/>
                    </a:cubicBezTo>
                    <a:cubicBezTo>
                      <a:pt x="12610" y="517874"/>
                      <a:pt x="10896" y="516446"/>
                      <a:pt x="9467" y="514922"/>
                    </a:cubicBezTo>
                    <a:lnTo>
                      <a:pt x="8038" y="513398"/>
                    </a:lnTo>
                    <a:lnTo>
                      <a:pt x="8038" y="513398"/>
                    </a:lnTo>
                    <a:close/>
                    <a:moveTo>
                      <a:pt x="254641" y="404146"/>
                    </a:moveTo>
                    <a:lnTo>
                      <a:pt x="251783" y="405956"/>
                    </a:lnTo>
                    <a:lnTo>
                      <a:pt x="246259" y="409670"/>
                    </a:lnTo>
                    <a:cubicBezTo>
                      <a:pt x="199015" y="441008"/>
                      <a:pt x="119481" y="441960"/>
                      <a:pt x="54425" y="416243"/>
                    </a:cubicBezTo>
                    <a:lnTo>
                      <a:pt x="50615" y="414719"/>
                    </a:lnTo>
                    <a:lnTo>
                      <a:pt x="21754" y="475774"/>
                    </a:lnTo>
                    <a:lnTo>
                      <a:pt x="20897" y="477679"/>
                    </a:lnTo>
                    <a:cubicBezTo>
                      <a:pt x="18420" y="484251"/>
                      <a:pt x="18325" y="491490"/>
                      <a:pt x="20802" y="498158"/>
                    </a:cubicBezTo>
                    <a:cubicBezTo>
                      <a:pt x="22040" y="501396"/>
                      <a:pt x="24707" y="503682"/>
                      <a:pt x="27945" y="504444"/>
                    </a:cubicBezTo>
                    <a:lnTo>
                      <a:pt x="29184" y="504635"/>
                    </a:lnTo>
                    <a:lnTo>
                      <a:pt x="30327" y="504730"/>
                    </a:lnTo>
                    <a:lnTo>
                      <a:pt x="456570" y="504730"/>
                    </a:lnTo>
                    <a:lnTo>
                      <a:pt x="457714" y="504635"/>
                    </a:lnTo>
                    <a:cubicBezTo>
                      <a:pt x="461524" y="504254"/>
                      <a:pt x="464762" y="501682"/>
                      <a:pt x="466095" y="498062"/>
                    </a:cubicBezTo>
                    <a:cubicBezTo>
                      <a:pt x="468382" y="492157"/>
                      <a:pt x="468572" y="485585"/>
                      <a:pt x="466667" y="479584"/>
                    </a:cubicBezTo>
                    <a:lnTo>
                      <a:pt x="466000" y="477584"/>
                    </a:lnTo>
                    <a:lnTo>
                      <a:pt x="465143" y="475679"/>
                    </a:lnTo>
                    <a:lnTo>
                      <a:pt x="423519" y="387477"/>
                    </a:lnTo>
                    <a:cubicBezTo>
                      <a:pt x="365416" y="373190"/>
                      <a:pt x="295979" y="378714"/>
                      <a:pt x="254641" y="404146"/>
                    </a:cubicBezTo>
                    <a:close/>
                    <a:moveTo>
                      <a:pt x="305504" y="257175"/>
                    </a:moveTo>
                    <a:cubicBezTo>
                      <a:pt x="287121" y="257175"/>
                      <a:pt x="272167" y="272129"/>
                      <a:pt x="272167" y="290513"/>
                    </a:cubicBezTo>
                    <a:cubicBezTo>
                      <a:pt x="272167" y="308896"/>
                      <a:pt x="287121" y="323850"/>
                      <a:pt x="305504" y="323850"/>
                    </a:cubicBezTo>
                    <a:cubicBezTo>
                      <a:pt x="323887" y="323850"/>
                      <a:pt x="338842" y="308896"/>
                      <a:pt x="338842" y="290513"/>
                    </a:cubicBezTo>
                    <a:cubicBezTo>
                      <a:pt x="338842" y="272129"/>
                      <a:pt x="323887" y="257175"/>
                      <a:pt x="305504" y="257175"/>
                    </a:cubicBezTo>
                    <a:close/>
                  </a:path>
                </a:pathLst>
              </a:custGeom>
              <a:solidFill>
                <a:schemeClr val="bg1"/>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54"/>
                <a:endParaRPr lang="zh-CN" altLang="en-US" sz="2000" b="1" i="1">
                  <a:solidFill>
                    <a:schemeClr val="tx1"/>
                  </a:solidFill>
                </a:endParaRPr>
              </a:p>
            </p:txBody>
          </p:sp>
          <p:sp>
            <p:nvSpPr>
              <p:cNvPr id="84" name="îŝ1ïdé">
                <a:extLst>
                  <a:ext uri="{FF2B5EF4-FFF2-40B4-BE49-F238E27FC236}">
                    <a16:creationId xmlns:a16="http://schemas.microsoft.com/office/drawing/2014/main" id="{AF2860C2-B626-4FCB-8415-F3335BE366D3}"/>
                  </a:ext>
                </a:extLst>
              </p:cNvPr>
              <p:cNvSpPr/>
              <p:nvPr/>
            </p:nvSpPr>
            <p:spPr>
              <a:xfrm>
                <a:off x="5828922" y="4848767"/>
                <a:ext cx="534156" cy="524617"/>
              </a:xfrm>
              <a:custGeom>
                <a:avLst/>
                <a:gdLst>
                  <a:gd name="connsiteX0" fmla="*/ 342900 w 533400"/>
                  <a:gd name="connsiteY0" fmla="*/ 276225 h 523875"/>
                  <a:gd name="connsiteX1" fmla="*/ 371475 w 533400"/>
                  <a:gd name="connsiteY1" fmla="*/ 304800 h 523875"/>
                  <a:gd name="connsiteX2" fmla="*/ 371475 w 533400"/>
                  <a:gd name="connsiteY2" fmla="*/ 495300 h 523875"/>
                  <a:gd name="connsiteX3" fmla="*/ 342900 w 533400"/>
                  <a:gd name="connsiteY3" fmla="*/ 523875 h 523875"/>
                  <a:gd name="connsiteX4" fmla="*/ 190500 w 533400"/>
                  <a:gd name="connsiteY4" fmla="*/ 523875 h 523875"/>
                  <a:gd name="connsiteX5" fmla="*/ 161925 w 533400"/>
                  <a:gd name="connsiteY5" fmla="*/ 495300 h 523875"/>
                  <a:gd name="connsiteX6" fmla="*/ 161925 w 533400"/>
                  <a:gd name="connsiteY6" fmla="*/ 304800 h 523875"/>
                  <a:gd name="connsiteX7" fmla="*/ 190500 w 533400"/>
                  <a:gd name="connsiteY7" fmla="*/ 276225 h 523875"/>
                  <a:gd name="connsiteX8" fmla="*/ 342900 w 533400"/>
                  <a:gd name="connsiteY8" fmla="*/ 276225 h 523875"/>
                  <a:gd name="connsiteX9" fmla="*/ 142875 w 533400"/>
                  <a:gd name="connsiteY9" fmla="*/ 114300 h 523875"/>
                  <a:gd name="connsiteX10" fmla="*/ 179070 w 533400"/>
                  <a:gd name="connsiteY10" fmla="*/ 152400 h 523875"/>
                  <a:gd name="connsiteX11" fmla="*/ 180975 w 533400"/>
                  <a:gd name="connsiteY11" fmla="*/ 152400 h 523875"/>
                  <a:gd name="connsiteX12" fmla="*/ 352425 w 533400"/>
                  <a:gd name="connsiteY12" fmla="*/ 152400 h 523875"/>
                  <a:gd name="connsiteX13" fmla="*/ 390525 w 533400"/>
                  <a:gd name="connsiteY13" fmla="*/ 116205 h 523875"/>
                  <a:gd name="connsiteX14" fmla="*/ 390525 w 533400"/>
                  <a:gd name="connsiteY14" fmla="*/ 114300 h 523875"/>
                  <a:gd name="connsiteX15" fmla="*/ 504825 w 533400"/>
                  <a:gd name="connsiteY15" fmla="*/ 114300 h 523875"/>
                  <a:gd name="connsiteX16" fmla="*/ 533400 w 533400"/>
                  <a:gd name="connsiteY16" fmla="*/ 142875 h 523875"/>
                  <a:gd name="connsiteX17" fmla="*/ 533400 w 533400"/>
                  <a:gd name="connsiteY17" fmla="*/ 381000 h 523875"/>
                  <a:gd name="connsiteX18" fmla="*/ 504825 w 533400"/>
                  <a:gd name="connsiteY18" fmla="*/ 409575 h 523875"/>
                  <a:gd name="connsiteX19" fmla="*/ 390525 w 533400"/>
                  <a:gd name="connsiteY19" fmla="*/ 409575 h 523875"/>
                  <a:gd name="connsiteX20" fmla="*/ 390525 w 533400"/>
                  <a:gd name="connsiteY20" fmla="*/ 295275 h 523875"/>
                  <a:gd name="connsiteX21" fmla="*/ 354330 w 533400"/>
                  <a:gd name="connsiteY21" fmla="*/ 257175 h 523875"/>
                  <a:gd name="connsiteX22" fmla="*/ 352425 w 533400"/>
                  <a:gd name="connsiteY22" fmla="*/ 257175 h 523875"/>
                  <a:gd name="connsiteX23" fmla="*/ 180975 w 533400"/>
                  <a:gd name="connsiteY23" fmla="*/ 257175 h 523875"/>
                  <a:gd name="connsiteX24" fmla="*/ 142875 w 533400"/>
                  <a:gd name="connsiteY24" fmla="*/ 293370 h 523875"/>
                  <a:gd name="connsiteX25" fmla="*/ 142875 w 533400"/>
                  <a:gd name="connsiteY25" fmla="*/ 295275 h 523875"/>
                  <a:gd name="connsiteX26" fmla="*/ 142875 w 533400"/>
                  <a:gd name="connsiteY26" fmla="*/ 409575 h 523875"/>
                  <a:gd name="connsiteX27" fmla="*/ 28575 w 533400"/>
                  <a:gd name="connsiteY27" fmla="*/ 409575 h 523875"/>
                  <a:gd name="connsiteX28" fmla="*/ 0 w 533400"/>
                  <a:gd name="connsiteY28" fmla="*/ 381000 h 523875"/>
                  <a:gd name="connsiteX29" fmla="*/ 0 w 533400"/>
                  <a:gd name="connsiteY29" fmla="*/ 200787 h 523875"/>
                  <a:gd name="connsiteX30" fmla="*/ 10287 w 533400"/>
                  <a:gd name="connsiteY30" fmla="*/ 174784 h 523875"/>
                  <a:gd name="connsiteX31" fmla="*/ 55436 w 533400"/>
                  <a:gd name="connsiteY31" fmla="*/ 126397 h 523875"/>
                  <a:gd name="connsiteX32" fmla="*/ 83248 w 533400"/>
                  <a:gd name="connsiteY32" fmla="*/ 114300 h 523875"/>
                  <a:gd name="connsiteX33" fmla="*/ 142875 w 533400"/>
                  <a:gd name="connsiteY33" fmla="*/ 114300 h 523875"/>
                  <a:gd name="connsiteX34" fmla="*/ 461963 w 533400"/>
                  <a:gd name="connsiteY34" fmla="*/ 171450 h 523875"/>
                  <a:gd name="connsiteX35" fmla="*/ 447675 w 533400"/>
                  <a:gd name="connsiteY35" fmla="*/ 185738 h 523875"/>
                  <a:gd name="connsiteX36" fmla="*/ 461963 w 533400"/>
                  <a:gd name="connsiteY36" fmla="*/ 200025 h 523875"/>
                  <a:gd name="connsiteX37" fmla="*/ 476250 w 533400"/>
                  <a:gd name="connsiteY37" fmla="*/ 185738 h 523875"/>
                  <a:gd name="connsiteX38" fmla="*/ 461963 w 533400"/>
                  <a:gd name="connsiteY38" fmla="*/ 171450 h 523875"/>
                  <a:gd name="connsiteX39" fmla="*/ 342900 w 533400"/>
                  <a:gd name="connsiteY39" fmla="*/ 0 h 523875"/>
                  <a:gd name="connsiteX40" fmla="*/ 371475 w 533400"/>
                  <a:gd name="connsiteY40" fmla="*/ 28575 h 523875"/>
                  <a:gd name="connsiteX41" fmla="*/ 371475 w 533400"/>
                  <a:gd name="connsiteY41" fmla="*/ 104775 h 523875"/>
                  <a:gd name="connsiteX42" fmla="*/ 342900 w 533400"/>
                  <a:gd name="connsiteY42" fmla="*/ 133350 h 523875"/>
                  <a:gd name="connsiteX43" fmla="*/ 190500 w 533400"/>
                  <a:gd name="connsiteY43" fmla="*/ 133350 h 523875"/>
                  <a:gd name="connsiteX44" fmla="*/ 161925 w 533400"/>
                  <a:gd name="connsiteY44" fmla="*/ 104775 h 523875"/>
                  <a:gd name="connsiteX45" fmla="*/ 161925 w 533400"/>
                  <a:gd name="connsiteY45" fmla="*/ 28575 h 523875"/>
                  <a:gd name="connsiteX46" fmla="*/ 190500 w 533400"/>
                  <a:gd name="connsiteY46" fmla="*/ 0 h 523875"/>
                  <a:gd name="connsiteX47" fmla="*/ 342900 w 533400"/>
                  <a:gd name="connsiteY47" fmla="*/ 0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33400" h="523875">
                    <a:moveTo>
                      <a:pt x="342900" y="276225"/>
                    </a:moveTo>
                    <a:cubicBezTo>
                      <a:pt x="358711" y="276225"/>
                      <a:pt x="371475" y="288989"/>
                      <a:pt x="371475" y="304800"/>
                    </a:cubicBezTo>
                    <a:lnTo>
                      <a:pt x="371475" y="495300"/>
                    </a:lnTo>
                    <a:cubicBezTo>
                      <a:pt x="371475" y="511112"/>
                      <a:pt x="358711" y="523875"/>
                      <a:pt x="342900" y="523875"/>
                    </a:cubicBezTo>
                    <a:lnTo>
                      <a:pt x="190500" y="523875"/>
                    </a:lnTo>
                    <a:cubicBezTo>
                      <a:pt x="174689" y="523875"/>
                      <a:pt x="161925" y="511112"/>
                      <a:pt x="161925" y="495300"/>
                    </a:cubicBezTo>
                    <a:lnTo>
                      <a:pt x="161925" y="304800"/>
                    </a:lnTo>
                    <a:cubicBezTo>
                      <a:pt x="161925" y="288989"/>
                      <a:pt x="174689" y="276225"/>
                      <a:pt x="190500" y="276225"/>
                    </a:cubicBezTo>
                    <a:lnTo>
                      <a:pt x="342900" y="276225"/>
                    </a:lnTo>
                    <a:close/>
                    <a:moveTo>
                      <a:pt x="142875" y="114300"/>
                    </a:moveTo>
                    <a:cubicBezTo>
                      <a:pt x="142875" y="134684"/>
                      <a:pt x="158877" y="151352"/>
                      <a:pt x="179070" y="152400"/>
                    </a:cubicBezTo>
                    <a:lnTo>
                      <a:pt x="180975" y="152400"/>
                    </a:lnTo>
                    <a:lnTo>
                      <a:pt x="352425" y="152400"/>
                    </a:lnTo>
                    <a:cubicBezTo>
                      <a:pt x="372809" y="152400"/>
                      <a:pt x="389477" y="136398"/>
                      <a:pt x="390525" y="116205"/>
                    </a:cubicBezTo>
                    <a:lnTo>
                      <a:pt x="390525" y="114300"/>
                    </a:lnTo>
                    <a:lnTo>
                      <a:pt x="504825" y="114300"/>
                    </a:lnTo>
                    <a:cubicBezTo>
                      <a:pt x="520636" y="114300"/>
                      <a:pt x="533400" y="127064"/>
                      <a:pt x="533400" y="142875"/>
                    </a:cubicBezTo>
                    <a:lnTo>
                      <a:pt x="533400" y="381000"/>
                    </a:lnTo>
                    <a:cubicBezTo>
                      <a:pt x="533400" y="396812"/>
                      <a:pt x="520636" y="409575"/>
                      <a:pt x="504825" y="409575"/>
                    </a:cubicBezTo>
                    <a:lnTo>
                      <a:pt x="390525" y="409575"/>
                    </a:lnTo>
                    <a:lnTo>
                      <a:pt x="390525" y="295275"/>
                    </a:lnTo>
                    <a:cubicBezTo>
                      <a:pt x="390525" y="274892"/>
                      <a:pt x="374523" y="258223"/>
                      <a:pt x="354330" y="257175"/>
                    </a:cubicBezTo>
                    <a:lnTo>
                      <a:pt x="352425" y="257175"/>
                    </a:lnTo>
                    <a:lnTo>
                      <a:pt x="180975" y="257175"/>
                    </a:lnTo>
                    <a:cubicBezTo>
                      <a:pt x="160591" y="257175"/>
                      <a:pt x="143923" y="273177"/>
                      <a:pt x="142875" y="293370"/>
                    </a:cubicBezTo>
                    <a:lnTo>
                      <a:pt x="142875" y="295275"/>
                    </a:lnTo>
                    <a:lnTo>
                      <a:pt x="142875" y="409575"/>
                    </a:lnTo>
                    <a:lnTo>
                      <a:pt x="28575" y="409575"/>
                    </a:lnTo>
                    <a:cubicBezTo>
                      <a:pt x="12763" y="409575"/>
                      <a:pt x="0" y="396812"/>
                      <a:pt x="0" y="381000"/>
                    </a:cubicBezTo>
                    <a:lnTo>
                      <a:pt x="0" y="200787"/>
                    </a:lnTo>
                    <a:cubicBezTo>
                      <a:pt x="0" y="191167"/>
                      <a:pt x="3620" y="181832"/>
                      <a:pt x="10287" y="174784"/>
                    </a:cubicBezTo>
                    <a:lnTo>
                      <a:pt x="55436" y="126397"/>
                    </a:lnTo>
                    <a:cubicBezTo>
                      <a:pt x="62675" y="118682"/>
                      <a:pt x="72771" y="114300"/>
                      <a:pt x="83248" y="114300"/>
                    </a:cubicBezTo>
                    <a:lnTo>
                      <a:pt x="142875" y="114300"/>
                    </a:lnTo>
                    <a:close/>
                    <a:moveTo>
                      <a:pt x="461963" y="171450"/>
                    </a:moveTo>
                    <a:cubicBezTo>
                      <a:pt x="454057" y="171450"/>
                      <a:pt x="447675" y="177832"/>
                      <a:pt x="447675" y="185738"/>
                    </a:cubicBezTo>
                    <a:cubicBezTo>
                      <a:pt x="447675" y="193643"/>
                      <a:pt x="454057" y="200025"/>
                      <a:pt x="461963" y="200025"/>
                    </a:cubicBezTo>
                    <a:cubicBezTo>
                      <a:pt x="469868" y="200025"/>
                      <a:pt x="476250" y="193643"/>
                      <a:pt x="476250" y="185738"/>
                    </a:cubicBezTo>
                    <a:cubicBezTo>
                      <a:pt x="476250" y="177832"/>
                      <a:pt x="469868" y="171450"/>
                      <a:pt x="461963" y="171450"/>
                    </a:cubicBezTo>
                    <a:close/>
                    <a:moveTo>
                      <a:pt x="342900" y="0"/>
                    </a:moveTo>
                    <a:cubicBezTo>
                      <a:pt x="358711" y="0"/>
                      <a:pt x="371475" y="12763"/>
                      <a:pt x="371475" y="28575"/>
                    </a:cubicBezTo>
                    <a:lnTo>
                      <a:pt x="371475" y="104775"/>
                    </a:lnTo>
                    <a:cubicBezTo>
                      <a:pt x="371475" y="120587"/>
                      <a:pt x="358711" y="133350"/>
                      <a:pt x="342900" y="133350"/>
                    </a:cubicBezTo>
                    <a:lnTo>
                      <a:pt x="190500" y="133350"/>
                    </a:lnTo>
                    <a:cubicBezTo>
                      <a:pt x="174689" y="133350"/>
                      <a:pt x="161925" y="120587"/>
                      <a:pt x="161925" y="104775"/>
                    </a:cubicBezTo>
                    <a:lnTo>
                      <a:pt x="161925" y="28575"/>
                    </a:lnTo>
                    <a:cubicBezTo>
                      <a:pt x="161925" y="12763"/>
                      <a:pt x="174689" y="0"/>
                      <a:pt x="190500" y="0"/>
                    </a:cubicBezTo>
                    <a:lnTo>
                      <a:pt x="342900" y="0"/>
                    </a:lnTo>
                    <a:close/>
                  </a:path>
                </a:pathLst>
              </a:custGeom>
              <a:solidFill>
                <a:schemeClr val="bg1"/>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54"/>
                <a:endParaRPr lang="zh-CN" altLang="en-US" sz="2000" b="1" i="1">
                  <a:solidFill>
                    <a:schemeClr val="tx1"/>
                  </a:solidFill>
                </a:endParaRPr>
              </a:p>
            </p:txBody>
          </p:sp>
        </p:grpSp>
        <p:sp>
          <p:nvSpPr>
            <p:cNvPr id="67" name="isḷíde">
              <a:extLst>
                <a:ext uri="{FF2B5EF4-FFF2-40B4-BE49-F238E27FC236}">
                  <a16:creationId xmlns:a16="http://schemas.microsoft.com/office/drawing/2014/main" id="{3F9B22AF-7850-4DE4-8966-1463A8FCD3BE}"/>
                </a:ext>
              </a:extLst>
            </p:cNvPr>
            <p:cNvSpPr/>
            <p:nvPr/>
          </p:nvSpPr>
          <p:spPr bwMode="auto">
            <a:xfrm>
              <a:off x="673100" y="2499179"/>
              <a:ext cx="3149600" cy="1072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30000"/>
                </a:lnSpc>
              </a:pPr>
              <a:r>
                <a:rPr lang="en-US" altLang="zh-CN" sz="1800" dirty="0">
                  <a:ea typeface="宋体" panose="02010600030101010101" pitchFamily="2" charset="-122"/>
                </a:rPr>
                <a:t>User account password and </a:t>
              </a:r>
            </a:p>
            <a:p>
              <a:pPr>
                <a:lnSpc>
                  <a:spcPct val="130000"/>
                </a:lnSpc>
              </a:pPr>
              <a:r>
                <a:rPr lang="en-US" altLang="zh-CN" dirty="0">
                  <a:ea typeface="宋体" panose="02010600030101010101" pitchFamily="2" charset="-122"/>
                </a:rPr>
                <a:t>OTP(once time password)</a:t>
              </a:r>
              <a:endParaRPr lang="zh-CN" altLang="en-US" sz="1800" dirty="0">
                <a:ea typeface="宋体" panose="02010600030101010101" pitchFamily="2" charset="-122"/>
              </a:endParaRPr>
            </a:p>
            <a:p>
              <a:pPr>
                <a:lnSpc>
                  <a:spcPct val="130000"/>
                </a:lnSpc>
              </a:pPr>
              <a:endParaRPr lang="en-US" altLang="zh-CN" sz="1200" dirty="0"/>
            </a:p>
          </p:txBody>
        </p:sp>
        <p:sp>
          <p:nvSpPr>
            <p:cNvPr id="68" name="îṩ1îḑe">
              <a:extLst>
                <a:ext uri="{FF2B5EF4-FFF2-40B4-BE49-F238E27FC236}">
                  <a16:creationId xmlns:a16="http://schemas.microsoft.com/office/drawing/2014/main" id="{E8A6F94C-7525-43C5-B2D9-FD32630682F1}"/>
                </a:ext>
              </a:extLst>
            </p:cNvPr>
            <p:cNvSpPr txBox="1"/>
            <p:nvPr/>
          </p:nvSpPr>
          <p:spPr bwMode="auto">
            <a:xfrm>
              <a:off x="673100" y="1943073"/>
              <a:ext cx="3142838" cy="556105"/>
            </a:xfrm>
            <a:prstGeom prst="rect">
              <a:avLst/>
            </a:prstGeom>
            <a:noFill/>
            <a:ln>
              <a:noFill/>
            </a:ln>
          </p:spPr>
          <p:txBody>
            <a:bodyPr wrap="square" lIns="91440" tIns="45720" rIns="91440" bIns="45720" anchor="ctr">
              <a:normAutofit fontScale="70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hangingPunct="1">
                <a:lnSpc>
                  <a:spcPct val="100000"/>
                </a:lnSpc>
                <a:spcBef>
                  <a:spcPct val="0"/>
                </a:spcBef>
              </a:pPr>
              <a:r>
                <a:rPr lang="en-US" altLang="zh-CN" sz="2800" b="1" i="1" u="sng" dirty="0"/>
                <a:t>01.Permission Security</a:t>
              </a:r>
            </a:p>
          </p:txBody>
        </p:sp>
        <p:sp>
          <p:nvSpPr>
            <p:cNvPr id="69" name="îśḷiḋê">
              <a:extLst>
                <a:ext uri="{FF2B5EF4-FFF2-40B4-BE49-F238E27FC236}">
                  <a16:creationId xmlns:a16="http://schemas.microsoft.com/office/drawing/2014/main" id="{3F9B22AF-7850-4DE4-8966-1463A8FCD3BE}"/>
                </a:ext>
              </a:extLst>
            </p:cNvPr>
            <p:cNvSpPr/>
            <p:nvPr/>
          </p:nvSpPr>
          <p:spPr bwMode="auto">
            <a:xfrm>
              <a:off x="673100" y="3699580"/>
              <a:ext cx="3149600" cy="7530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lnSpc>
                  <a:spcPct val="130000"/>
                </a:lnSpc>
                <a:buFont typeface="Arial" panose="020B0604020202020204" pitchFamily="34" charset="0"/>
                <a:buChar char="•"/>
              </a:pPr>
              <a:endParaRPr lang="en-US" altLang="zh-CN" sz="1100" dirty="0"/>
            </a:p>
          </p:txBody>
        </p:sp>
        <p:sp>
          <p:nvSpPr>
            <p:cNvPr id="70" name="íṥļiḍé">
              <a:extLst>
                <a:ext uri="{FF2B5EF4-FFF2-40B4-BE49-F238E27FC236}">
                  <a16:creationId xmlns:a16="http://schemas.microsoft.com/office/drawing/2014/main" id="{3F9B22AF-7850-4DE4-8966-1463A8FCD3BE}"/>
                </a:ext>
              </a:extLst>
            </p:cNvPr>
            <p:cNvSpPr/>
            <p:nvPr/>
          </p:nvSpPr>
          <p:spPr bwMode="auto">
            <a:xfrm>
              <a:off x="673100" y="4580996"/>
              <a:ext cx="3149600" cy="7530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30000"/>
                </a:lnSpc>
              </a:pPr>
              <a:r>
                <a:rPr lang="en-US" altLang="zh-CN" dirty="0"/>
                <a:t>various health parameters of the device are checked.</a:t>
              </a:r>
            </a:p>
          </p:txBody>
        </p:sp>
        <p:cxnSp>
          <p:nvCxnSpPr>
            <p:cNvPr id="71" name="îśḻïďè">
              <a:extLst>
                <a:ext uri="{FF2B5EF4-FFF2-40B4-BE49-F238E27FC236}">
                  <a16:creationId xmlns:a16="http://schemas.microsoft.com/office/drawing/2014/main" id="{9CE16626-55A4-4992-8389-14D0A036AE06}"/>
                </a:ext>
              </a:extLst>
            </p:cNvPr>
            <p:cNvCxnSpPr/>
            <p:nvPr/>
          </p:nvCxnSpPr>
          <p:spPr>
            <a:xfrm>
              <a:off x="673100" y="3439447"/>
              <a:ext cx="3014835"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72" name="ïşlíḑe">
              <a:extLst>
                <a:ext uri="{FF2B5EF4-FFF2-40B4-BE49-F238E27FC236}">
                  <a16:creationId xmlns:a16="http://schemas.microsoft.com/office/drawing/2014/main" id="{EABBD8D8-F657-4F80-9257-36CFC96DFCD4}"/>
                </a:ext>
              </a:extLst>
            </p:cNvPr>
            <p:cNvCxnSpPr/>
            <p:nvPr/>
          </p:nvCxnSpPr>
          <p:spPr>
            <a:xfrm>
              <a:off x="673100" y="5369230"/>
              <a:ext cx="3014835"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73" name="ïśḷiḍé">
              <a:extLst>
                <a:ext uri="{FF2B5EF4-FFF2-40B4-BE49-F238E27FC236}">
                  <a16:creationId xmlns:a16="http://schemas.microsoft.com/office/drawing/2014/main" id="{3F9B22AF-7850-4DE4-8966-1463A8FCD3BE}"/>
                </a:ext>
              </a:extLst>
            </p:cNvPr>
            <p:cNvSpPr/>
            <p:nvPr/>
          </p:nvSpPr>
          <p:spPr bwMode="auto">
            <a:xfrm>
              <a:off x="8369300" y="2818168"/>
              <a:ext cx="3149600" cy="2692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30000"/>
                </a:lnSpc>
              </a:pPr>
              <a:r>
                <a:rPr lang="en-US" altLang="zh-CN" sz="1800" dirty="0">
                  <a:ea typeface="宋体" panose="02010600030101010101" pitchFamily="2" charset="-122"/>
                </a:rPr>
                <a:t>The system uses blockchain to keep an immutable audit trail of data access instances . Unless a 51 percent attack occurs </a:t>
              </a:r>
              <a:endParaRPr lang="en-US" altLang="zh-CN" sz="1100" dirty="0"/>
            </a:p>
          </p:txBody>
        </p:sp>
        <p:cxnSp>
          <p:nvCxnSpPr>
            <p:cNvPr id="77" name="işļïḓé">
              <a:extLst>
                <a:ext uri="{FF2B5EF4-FFF2-40B4-BE49-F238E27FC236}">
                  <a16:creationId xmlns:a16="http://schemas.microsoft.com/office/drawing/2014/main" id="{982E3DE5-F6C9-41A0-8F79-B0189D428D17}"/>
                </a:ext>
              </a:extLst>
            </p:cNvPr>
            <p:cNvCxnSpPr/>
            <p:nvPr/>
          </p:nvCxnSpPr>
          <p:spPr>
            <a:xfrm>
              <a:off x="8256929" y="5510767"/>
              <a:ext cx="3014835"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sp>
        <p:nvSpPr>
          <p:cNvPr id="5" name="文本框 4">
            <a:extLst>
              <a:ext uri="{FF2B5EF4-FFF2-40B4-BE49-F238E27FC236}">
                <a16:creationId xmlns:a16="http://schemas.microsoft.com/office/drawing/2014/main" id="{EF5BC24B-6AEF-4B88-ABA3-20CCCC575229}"/>
              </a:ext>
            </a:extLst>
          </p:cNvPr>
          <p:cNvSpPr txBox="1"/>
          <p:nvPr/>
        </p:nvSpPr>
        <p:spPr>
          <a:xfrm>
            <a:off x="5464263" y="2817257"/>
            <a:ext cx="1261884" cy="954107"/>
          </a:xfrm>
          <a:prstGeom prst="rect">
            <a:avLst/>
          </a:prstGeom>
          <a:noFill/>
        </p:spPr>
        <p:txBody>
          <a:bodyPr wrap="none" rtlCol="0">
            <a:spAutoFit/>
          </a:bodyPr>
          <a:lstStyle/>
          <a:p>
            <a:pPr algn="ctr"/>
            <a:r>
              <a:rPr lang="zh-CN" altLang="en-US" sz="2800" b="1" dirty="0"/>
              <a:t>数据安</a:t>
            </a:r>
            <a:endParaRPr lang="en-US" altLang="zh-CN" sz="2800" b="1" dirty="0"/>
          </a:p>
          <a:p>
            <a:pPr algn="ctr"/>
            <a:r>
              <a:rPr lang="zh-CN" altLang="en-US" sz="2800" b="1" dirty="0"/>
              <a:t>全</a:t>
            </a:r>
          </a:p>
        </p:txBody>
      </p:sp>
      <p:sp>
        <p:nvSpPr>
          <p:cNvPr id="6" name="îṩ1îḑe">
            <a:extLst>
              <a:ext uri="{FF2B5EF4-FFF2-40B4-BE49-F238E27FC236}">
                <a16:creationId xmlns:a16="http://schemas.microsoft.com/office/drawing/2014/main" id="{8A400612-2173-429D-9BB1-ABE547968349}"/>
              </a:ext>
            </a:extLst>
          </p:cNvPr>
          <p:cNvSpPr txBox="1"/>
          <p:nvPr/>
        </p:nvSpPr>
        <p:spPr bwMode="auto">
          <a:xfrm>
            <a:off x="669924" y="3782675"/>
            <a:ext cx="3142838" cy="556105"/>
          </a:xfrm>
          <a:prstGeom prst="rect">
            <a:avLst/>
          </a:prstGeom>
          <a:noFill/>
          <a:ln>
            <a:noFill/>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hangingPunct="1">
              <a:lnSpc>
                <a:spcPct val="100000"/>
              </a:lnSpc>
              <a:spcBef>
                <a:spcPct val="0"/>
              </a:spcBef>
            </a:pPr>
            <a:r>
              <a:rPr lang="en-US" altLang="zh-CN" sz="2000" b="1" i="1" u="sng" dirty="0"/>
              <a:t>02.Equipment</a:t>
            </a:r>
            <a:r>
              <a:rPr lang="zh-CN" altLang="en-US" sz="2000" b="1" i="1" u="sng" dirty="0"/>
              <a:t> </a:t>
            </a:r>
            <a:r>
              <a:rPr lang="en-US" altLang="zh-CN" sz="2000" b="1" i="1" u="sng" dirty="0"/>
              <a:t>safety</a:t>
            </a:r>
          </a:p>
        </p:txBody>
      </p:sp>
      <p:sp>
        <p:nvSpPr>
          <p:cNvPr id="7" name="îṩ1îḑe">
            <a:extLst>
              <a:ext uri="{FF2B5EF4-FFF2-40B4-BE49-F238E27FC236}">
                <a16:creationId xmlns:a16="http://schemas.microsoft.com/office/drawing/2014/main" id="{8429209B-2D4B-4A56-BC87-14879E989F23}"/>
              </a:ext>
            </a:extLst>
          </p:cNvPr>
          <p:cNvSpPr txBox="1"/>
          <p:nvPr/>
        </p:nvSpPr>
        <p:spPr bwMode="auto">
          <a:xfrm>
            <a:off x="8504064" y="1907307"/>
            <a:ext cx="3142838" cy="556105"/>
          </a:xfrm>
          <a:prstGeom prst="rect">
            <a:avLst/>
          </a:prstGeom>
          <a:noFill/>
          <a:ln>
            <a:noFill/>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hangingPunct="1">
              <a:lnSpc>
                <a:spcPct val="100000"/>
              </a:lnSpc>
              <a:spcBef>
                <a:spcPct val="0"/>
              </a:spcBef>
            </a:pPr>
            <a:r>
              <a:rPr lang="en-US" altLang="zh-CN" sz="2000" b="1" i="1" u="sng" dirty="0"/>
              <a:t>03.Data</a:t>
            </a:r>
            <a:r>
              <a:rPr lang="zh-CN" altLang="en-US" sz="2000" b="1" i="1" u="sng" dirty="0"/>
              <a:t> </a:t>
            </a:r>
            <a:r>
              <a:rPr lang="en-US" altLang="zh-CN" sz="2000" b="1" i="1" u="sng" dirty="0"/>
              <a:t>immutable</a:t>
            </a:r>
          </a:p>
        </p:txBody>
      </p:sp>
    </p:spTree>
    <p:custDataLst>
      <p:tags r:id="rId1"/>
    </p:custDataLst>
    <p:extLst>
      <p:ext uri="{BB962C8B-B14F-4D97-AF65-F5344CB8AC3E}">
        <p14:creationId xmlns:p14="http://schemas.microsoft.com/office/powerpoint/2010/main" val="22932967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i$1ïḋé"/>
        <p:cNvGrpSpPr/>
        <p:nvPr/>
      </p:nvGrpSpPr>
      <p:grpSpPr>
        <a:xfrm>
          <a:off x="0" y="0"/>
          <a:ext cx="0" cy="0"/>
          <a:chOff x="0" y="0"/>
          <a:chExt cx="0" cy="0"/>
        </a:xfrm>
      </p:grpSpPr>
      <p:sp>
        <p:nvSpPr>
          <p:cNvPr id="2" name="ïS1îḍè">
            <a:extLst>
              <a:ext uri="{FF2B5EF4-FFF2-40B4-BE49-F238E27FC236}">
                <a16:creationId xmlns:a16="http://schemas.microsoft.com/office/drawing/2014/main" id="{AFAE8D46-6ADB-445F-9857-E97B596E365B}"/>
              </a:ext>
            </a:extLst>
          </p:cNvPr>
          <p:cNvSpPr>
            <a:spLocks noGrp="1"/>
          </p:cNvSpPr>
          <p:nvPr>
            <p:ph type="title"/>
          </p:nvPr>
        </p:nvSpPr>
        <p:spPr/>
        <p:txBody>
          <a:bodyPr/>
          <a:lstStyle/>
          <a:p>
            <a:r>
              <a:rPr lang="en-US" altLang="zh-CN" dirty="0">
                <a:latin typeface="+mn-lt"/>
                <a:sym typeface="+mn-lt"/>
              </a:rPr>
              <a:t>Analysis</a:t>
            </a:r>
            <a:endParaRPr lang="zh-CN" altLang="en-US" dirty="0">
              <a:latin typeface="+mn-lt"/>
              <a:sym typeface="+mn-lt"/>
            </a:endParaRPr>
          </a:p>
        </p:txBody>
      </p:sp>
      <p:sp>
        <p:nvSpPr>
          <p:cNvPr id="3" name="ïšļîḍé">
            <a:extLst>
              <a:ext uri="{FF2B5EF4-FFF2-40B4-BE49-F238E27FC236}">
                <a16:creationId xmlns:a16="http://schemas.microsoft.com/office/drawing/2014/main" id="{224398C6-323F-4970-BEBA-8611AD3139F2}"/>
              </a:ext>
            </a:extLst>
          </p:cNvPr>
          <p:cNvSpPr>
            <a:spLocks noGrp="1"/>
          </p:cNvSpPr>
          <p:nvPr>
            <p:ph type="ftr" sz="quarter" idx="11"/>
          </p:nvPr>
        </p:nvSpPr>
        <p:spPr/>
        <p:txBody>
          <a:bodyPr/>
          <a:lstStyle/>
          <a:p>
            <a:r>
              <a:rPr lang="zh-CN" altLang="en-US">
                <a:sym typeface="+mn-lt"/>
              </a:rPr>
              <a:t>请在插入</a:t>
            </a:r>
            <a:r>
              <a:rPr lang="zh-CN" altLang="en-US" sz="100">
                <a:sym typeface="+mn-lt"/>
              </a:rPr>
              <a:t> </a:t>
            </a:r>
            <a:r>
              <a:rPr lang="zh-CN" altLang="en-US">
                <a:sym typeface="+mn-lt"/>
              </a:rPr>
              <a:t>菜单</a:t>
            </a:r>
            <a:r>
              <a:rPr lang="en-US" altLang="zh-CN">
                <a:sym typeface="+mn-lt"/>
              </a:rPr>
              <a:t>—</a:t>
            </a:r>
            <a:r>
              <a:rPr lang="zh-CN" altLang="en-US">
                <a:sym typeface="+mn-lt"/>
              </a:rPr>
              <a:t>页眉和页脚中修改此文本</a:t>
            </a:r>
            <a:endParaRPr lang="zh-CN" altLang="en-US" dirty="0">
              <a:sym typeface="+mn-lt"/>
            </a:endParaRPr>
          </a:p>
        </p:txBody>
      </p:sp>
      <p:sp>
        <p:nvSpPr>
          <p:cNvPr id="4" name="íṧľidè">
            <a:extLst>
              <a:ext uri="{FF2B5EF4-FFF2-40B4-BE49-F238E27FC236}">
                <a16:creationId xmlns:a16="http://schemas.microsoft.com/office/drawing/2014/main" id="{AF6356A3-CC25-41F2-B22D-C4E33D67CD44}"/>
              </a:ext>
            </a:extLst>
          </p:cNvPr>
          <p:cNvSpPr>
            <a:spLocks noGrp="1"/>
          </p:cNvSpPr>
          <p:nvPr>
            <p:ph type="sldNum" sz="quarter" idx="12"/>
          </p:nvPr>
        </p:nvSpPr>
        <p:spPr/>
        <p:txBody>
          <a:bodyPr/>
          <a:lstStyle/>
          <a:p>
            <a:fld id="{5DD3DB80-B894-403A-B48E-6FDC1A72010E}" type="slidenum">
              <a:rPr lang="zh-CN" altLang="en-US" smtClean="0">
                <a:sym typeface="+mn-lt"/>
              </a:rPr>
              <a:pPr/>
              <a:t>17</a:t>
            </a:fld>
            <a:endParaRPr lang="zh-CN" altLang="en-US">
              <a:sym typeface="+mn-lt"/>
            </a:endParaRPr>
          </a:p>
        </p:txBody>
      </p:sp>
      <p:sp>
        <p:nvSpPr>
          <p:cNvPr id="1090" name="ïśḻïḓê">
            <a:extLst>
              <a:ext uri="{FF2B5EF4-FFF2-40B4-BE49-F238E27FC236}">
                <a16:creationId xmlns:a16="http://schemas.microsoft.com/office/drawing/2014/main" id="{A7EAFDF1-43CF-45F2-8B15-B47ECAD33198}"/>
              </a:ext>
            </a:extLst>
          </p:cNvPr>
          <p:cNvSpPr/>
          <p:nvPr/>
        </p:nvSpPr>
        <p:spPr bwMode="auto">
          <a:xfrm>
            <a:off x="3200429" y="5310443"/>
            <a:ext cx="8868" cy="8868"/>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091" name="îṧľíde">
            <a:extLst>
              <a:ext uri="{FF2B5EF4-FFF2-40B4-BE49-F238E27FC236}">
                <a16:creationId xmlns:a16="http://schemas.microsoft.com/office/drawing/2014/main" id="{C2810819-80A4-4114-8CF5-E3BC9327B8A4}"/>
              </a:ext>
            </a:extLst>
          </p:cNvPr>
          <p:cNvSpPr/>
          <p:nvPr/>
        </p:nvSpPr>
        <p:spPr bwMode="auto">
          <a:xfrm>
            <a:off x="3200429" y="5288272"/>
            <a:ext cx="8868" cy="8868"/>
          </a:xfrm>
          <a:custGeom>
            <a:avLst/>
            <a:gdLst>
              <a:gd name="T0" fmla="*/ 1 w 1"/>
              <a:gd name="T1" fmla="*/ 0 h 1"/>
              <a:gd name="T2" fmla="*/ 0 w 1"/>
              <a:gd name="T3" fmla="*/ 0 h 1"/>
              <a:gd name="T4" fmla="*/ 0 w 1"/>
              <a:gd name="T5" fmla="*/ 0 h 1"/>
              <a:gd name="T6" fmla="*/ 0 w 1"/>
              <a:gd name="T7" fmla="*/ 0 h 1"/>
              <a:gd name="T8" fmla="*/ 0 w 1"/>
              <a:gd name="T9" fmla="*/ 1 h 1"/>
              <a:gd name="T10" fmla="*/ 0 w 1"/>
              <a:gd name="T11" fmla="*/ 1 h 1"/>
              <a:gd name="T12" fmla="*/ 1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0"/>
                </a:moveTo>
                <a:cubicBezTo>
                  <a:pt x="1" y="0"/>
                  <a:pt x="0" y="0"/>
                  <a:pt x="0" y="0"/>
                </a:cubicBezTo>
                <a:cubicBezTo>
                  <a:pt x="0" y="0"/>
                  <a:pt x="0" y="0"/>
                  <a:pt x="0" y="0"/>
                </a:cubicBezTo>
                <a:cubicBezTo>
                  <a:pt x="0" y="0"/>
                  <a:pt x="0" y="0"/>
                  <a:pt x="0" y="0"/>
                </a:cubicBezTo>
                <a:cubicBezTo>
                  <a:pt x="0" y="0"/>
                  <a:pt x="0" y="1"/>
                  <a:pt x="0" y="1"/>
                </a:cubicBezTo>
                <a:cubicBezTo>
                  <a:pt x="0" y="1"/>
                  <a:pt x="0" y="1"/>
                  <a:pt x="0" y="1"/>
                </a:cubicBezTo>
                <a:cubicBezTo>
                  <a:pt x="0" y="1"/>
                  <a:pt x="1" y="1"/>
                  <a:pt x="1" y="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092" name="ísḷiḋé">
            <a:extLst>
              <a:ext uri="{FF2B5EF4-FFF2-40B4-BE49-F238E27FC236}">
                <a16:creationId xmlns:a16="http://schemas.microsoft.com/office/drawing/2014/main" id="{1723F725-73CA-4585-B327-B8DEF2D0337D}"/>
              </a:ext>
            </a:extLst>
          </p:cNvPr>
          <p:cNvSpPr/>
          <p:nvPr/>
        </p:nvSpPr>
        <p:spPr bwMode="auto">
          <a:xfrm>
            <a:off x="3187127" y="5297140"/>
            <a:ext cx="31040" cy="13303"/>
          </a:xfrm>
          <a:custGeom>
            <a:avLst/>
            <a:gdLst>
              <a:gd name="T0" fmla="*/ 4 w 4"/>
              <a:gd name="T1" fmla="*/ 1 h 2"/>
              <a:gd name="T2" fmla="*/ 2 w 4"/>
              <a:gd name="T3" fmla="*/ 0 h 2"/>
              <a:gd name="T4" fmla="*/ 2 w 4"/>
              <a:gd name="T5" fmla="*/ 0 h 2"/>
              <a:gd name="T6" fmla="*/ 0 w 4"/>
              <a:gd name="T7" fmla="*/ 1 h 2"/>
              <a:gd name="T8" fmla="*/ 1 w 4"/>
              <a:gd name="T9" fmla="*/ 2 h 2"/>
              <a:gd name="T10" fmla="*/ 2 w 4"/>
              <a:gd name="T11" fmla="*/ 2 h 2"/>
              <a:gd name="T12" fmla="*/ 4 w 4"/>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1"/>
                </a:moveTo>
                <a:cubicBezTo>
                  <a:pt x="4" y="0"/>
                  <a:pt x="3" y="0"/>
                  <a:pt x="2" y="0"/>
                </a:cubicBezTo>
                <a:cubicBezTo>
                  <a:pt x="2" y="0"/>
                  <a:pt x="2" y="0"/>
                  <a:pt x="2" y="0"/>
                </a:cubicBezTo>
                <a:cubicBezTo>
                  <a:pt x="1" y="0"/>
                  <a:pt x="0" y="0"/>
                  <a:pt x="0" y="1"/>
                </a:cubicBezTo>
                <a:cubicBezTo>
                  <a:pt x="0" y="2"/>
                  <a:pt x="1" y="2"/>
                  <a:pt x="1" y="2"/>
                </a:cubicBezTo>
                <a:cubicBezTo>
                  <a:pt x="2" y="2"/>
                  <a:pt x="2" y="2"/>
                  <a:pt x="2" y="2"/>
                </a:cubicBezTo>
                <a:cubicBezTo>
                  <a:pt x="3" y="2"/>
                  <a:pt x="4" y="2"/>
                  <a:pt x="4" y="1"/>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093" name="îṥļíḓê">
            <a:extLst>
              <a:ext uri="{FF2B5EF4-FFF2-40B4-BE49-F238E27FC236}">
                <a16:creationId xmlns:a16="http://schemas.microsoft.com/office/drawing/2014/main" id="{321AD451-6A87-4578-AC3A-C4BF8D0C3A49}"/>
              </a:ext>
            </a:extLst>
          </p:cNvPr>
          <p:cNvSpPr/>
          <p:nvPr/>
        </p:nvSpPr>
        <p:spPr bwMode="auto">
          <a:xfrm>
            <a:off x="4025201" y="5288272"/>
            <a:ext cx="4434" cy="8868"/>
          </a:xfrm>
          <a:custGeom>
            <a:avLst/>
            <a:gdLst>
              <a:gd name="T0" fmla="*/ 1 w 1"/>
              <a:gd name="T1" fmla="*/ 1 h 1"/>
              <a:gd name="T2" fmla="*/ 1 w 1"/>
              <a:gd name="T3" fmla="*/ 0 h 1"/>
              <a:gd name="T4" fmla="*/ 0 w 1"/>
              <a:gd name="T5" fmla="*/ 0 h 1"/>
              <a:gd name="T6" fmla="*/ 0 w 1"/>
              <a:gd name="T7" fmla="*/ 1 h 1"/>
              <a:gd name="T8" fmla="*/ 0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0"/>
                  <a:pt x="1" y="0"/>
                  <a:pt x="1" y="0"/>
                </a:cubicBezTo>
                <a:cubicBezTo>
                  <a:pt x="1" y="0"/>
                  <a:pt x="0" y="0"/>
                  <a:pt x="0" y="0"/>
                </a:cubicBezTo>
                <a:cubicBezTo>
                  <a:pt x="0" y="0"/>
                  <a:pt x="0" y="1"/>
                  <a:pt x="0" y="1"/>
                </a:cubicBezTo>
                <a:cubicBezTo>
                  <a:pt x="0" y="1"/>
                  <a:pt x="0" y="1"/>
                  <a:pt x="0" y="1"/>
                </a:cubicBezTo>
                <a:cubicBezTo>
                  <a:pt x="0" y="1"/>
                  <a:pt x="1" y="1"/>
                  <a:pt x="1" y="1"/>
                </a:cubicBezTo>
                <a:cubicBezTo>
                  <a:pt x="1" y="1"/>
                  <a:pt x="1" y="1"/>
                  <a:pt x="1" y="1"/>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094" name="i$ḻiḋè">
            <a:extLst>
              <a:ext uri="{FF2B5EF4-FFF2-40B4-BE49-F238E27FC236}">
                <a16:creationId xmlns:a16="http://schemas.microsoft.com/office/drawing/2014/main" id="{5F571AAF-D941-4E02-8E14-3D1189B3A9D2}"/>
              </a:ext>
            </a:extLst>
          </p:cNvPr>
          <p:cNvSpPr/>
          <p:nvPr/>
        </p:nvSpPr>
        <p:spPr bwMode="auto">
          <a:xfrm>
            <a:off x="4025201" y="5270535"/>
            <a:ext cx="4434" cy="4434"/>
          </a:xfrm>
          <a:custGeom>
            <a:avLst/>
            <a:gdLst>
              <a:gd name="T0" fmla="*/ 1 w 1"/>
              <a:gd name="T1" fmla="*/ 0 h 1"/>
              <a:gd name="T2" fmla="*/ 1 w 1"/>
              <a:gd name="T3" fmla="*/ 0 h 1"/>
              <a:gd name="T4" fmla="*/ 1 w 1"/>
              <a:gd name="T5" fmla="*/ 0 h 1"/>
              <a:gd name="T6" fmla="*/ 0 w 1"/>
              <a:gd name="T7" fmla="*/ 0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0"/>
                  <a:pt x="1" y="0"/>
                  <a:pt x="1" y="0"/>
                </a:cubicBezTo>
                <a:cubicBezTo>
                  <a:pt x="1" y="0"/>
                  <a:pt x="1" y="0"/>
                  <a:pt x="1" y="0"/>
                </a:cubicBezTo>
                <a:cubicBezTo>
                  <a:pt x="0" y="0"/>
                  <a:pt x="0" y="0"/>
                  <a:pt x="0" y="0"/>
                </a:cubicBezTo>
                <a:cubicBezTo>
                  <a:pt x="0" y="1"/>
                  <a:pt x="0" y="1"/>
                  <a:pt x="1" y="1"/>
                </a:cubicBezTo>
                <a:cubicBezTo>
                  <a:pt x="1" y="1"/>
                  <a:pt x="1" y="1"/>
                  <a:pt x="1" y="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095" name="îşlîďê">
            <a:extLst>
              <a:ext uri="{FF2B5EF4-FFF2-40B4-BE49-F238E27FC236}">
                <a16:creationId xmlns:a16="http://schemas.microsoft.com/office/drawing/2014/main" id="{B8E0E28C-14F7-4DE6-829A-D093596773BF}"/>
              </a:ext>
            </a:extLst>
          </p:cNvPr>
          <p:cNvSpPr/>
          <p:nvPr/>
        </p:nvSpPr>
        <p:spPr bwMode="auto">
          <a:xfrm>
            <a:off x="4016333" y="5274969"/>
            <a:ext cx="22171" cy="13303"/>
          </a:xfrm>
          <a:custGeom>
            <a:avLst/>
            <a:gdLst>
              <a:gd name="T0" fmla="*/ 3 w 3"/>
              <a:gd name="T1" fmla="*/ 1 h 2"/>
              <a:gd name="T2" fmla="*/ 2 w 3"/>
              <a:gd name="T3" fmla="*/ 0 h 2"/>
              <a:gd name="T4" fmla="*/ 0 w 3"/>
              <a:gd name="T5" fmla="*/ 1 h 2"/>
              <a:gd name="T6" fmla="*/ 1 w 3"/>
              <a:gd name="T7" fmla="*/ 2 h 2"/>
              <a:gd name="T8" fmla="*/ 2 w 3"/>
              <a:gd name="T9" fmla="*/ 2 h 2"/>
              <a:gd name="T10" fmla="*/ 3 w 3"/>
              <a:gd name="T11" fmla="*/ 1 h 2"/>
            </a:gdLst>
            <a:ahLst/>
            <a:cxnLst>
              <a:cxn ang="0">
                <a:pos x="T0" y="T1"/>
              </a:cxn>
              <a:cxn ang="0">
                <a:pos x="T2" y="T3"/>
              </a:cxn>
              <a:cxn ang="0">
                <a:pos x="T4" y="T5"/>
              </a:cxn>
              <a:cxn ang="0">
                <a:pos x="T6" y="T7"/>
              </a:cxn>
              <a:cxn ang="0">
                <a:pos x="T8" y="T9"/>
              </a:cxn>
              <a:cxn ang="0">
                <a:pos x="T10" y="T11"/>
              </a:cxn>
            </a:cxnLst>
            <a:rect l="0" t="0" r="r" b="b"/>
            <a:pathLst>
              <a:path w="3" h="2">
                <a:moveTo>
                  <a:pt x="3" y="1"/>
                </a:moveTo>
                <a:cubicBezTo>
                  <a:pt x="3" y="0"/>
                  <a:pt x="2" y="0"/>
                  <a:pt x="2" y="0"/>
                </a:cubicBezTo>
                <a:cubicBezTo>
                  <a:pt x="1" y="0"/>
                  <a:pt x="0" y="0"/>
                  <a:pt x="0" y="1"/>
                </a:cubicBezTo>
                <a:cubicBezTo>
                  <a:pt x="0" y="2"/>
                  <a:pt x="1" y="2"/>
                  <a:pt x="1" y="2"/>
                </a:cubicBezTo>
                <a:cubicBezTo>
                  <a:pt x="1" y="2"/>
                  <a:pt x="2" y="2"/>
                  <a:pt x="2" y="2"/>
                </a:cubicBezTo>
                <a:cubicBezTo>
                  <a:pt x="2" y="2"/>
                  <a:pt x="3" y="2"/>
                  <a:pt x="3" y="1"/>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096" name="ïşľidé">
            <a:extLst>
              <a:ext uri="{FF2B5EF4-FFF2-40B4-BE49-F238E27FC236}">
                <a16:creationId xmlns:a16="http://schemas.microsoft.com/office/drawing/2014/main" id="{7F6AC4B9-788A-46A2-B061-65126E4B43C0}"/>
              </a:ext>
            </a:extLst>
          </p:cNvPr>
          <p:cNvSpPr/>
          <p:nvPr/>
        </p:nvSpPr>
        <p:spPr bwMode="auto">
          <a:xfrm>
            <a:off x="3195995" y="5270535"/>
            <a:ext cx="13303" cy="17737"/>
          </a:xfrm>
          <a:custGeom>
            <a:avLst/>
            <a:gdLst>
              <a:gd name="T0" fmla="*/ 2 w 2"/>
              <a:gd name="T1" fmla="*/ 2 h 3"/>
              <a:gd name="T2" fmla="*/ 1 w 2"/>
              <a:gd name="T3" fmla="*/ 0 h 3"/>
              <a:gd name="T4" fmla="*/ 0 w 2"/>
              <a:gd name="T5" fmla="*/ 2 h 3"/>
              <a:gd name="T6" fmla="*/ 1 w 2"/>
              <a:gd name="T7" fmla="*/ 3 h 3"/>
              <a:gd name="T8" fmla="*/ 1 w 2"/>
              <a:gd name="T9" fmla="*/ 3 h 3"/>
              <a:gd name="T10" fmla="*/ 2 w 2"/>
              <a:gd name="T11" fmla="*/ 2 h 3"/>
            </a:gdLst>
            <a:ahLst/>
            <a:cxnLst>
              <a:cxn ang="0">
                <a:pos x="T0" y="T1"/>
              </a:cxn>
              <a:cxn ang="0">
                <a:pos x="T2" y="T3"/>
              </a:cxn>
              <a:cxn ang="0">
                <a:pos x="T4" y="T5"/>
              </a:cxn>
              <a:cxn ang="0">
                <a:pos x="T6" y="T7"/>
              </a:cxn>
              <a:cxn ang="0">
                <a:pos x="T8" y="T9"/>
              </a:cxn>
              <a:cxn ang="0">
                <a:pos x="T10" y="T11"/>
              </a:cxn>
            </a:cxnLst>
            <a:rect l="0" t="0" r="r" b="b"/>
            <a:pathLst>
              <a:path w="2" h="3">
                <a:moveTo>
                  <a:pt x="2" y="2"/>
                </a:moveTo>
                <a:cubicBezTo>
                  <a:pt x="2" y="1"/>
                  <a:pt x="2" y="0"/>
                  <a:pt x="1" y="0"/>
                </a:cubicBezTo>
                <a:cubicBezTo>
                  <a:pt x="0" y="0"/>
                  <a:pt x="0" y="1"/>
                  <a:pt x="0" y="2"/>
                </a:cubicBezTo>
                <a:cubicBezTo>
                  <a:pt x="0" y="2"/>
                  <a:pt x="0" y="3"/>
                  <a:pt x="1" y="3"/>
                </a:cubicBezTo>
                <a:cubicBezTo>
                  <a:pt x="1" y="3"/>
                  <a:pt x="1" y="3"/>
                  <a:pt x="1" y="3"/>
                </a:cubicBezTo>
                <a:cubicBezTo>
                  <a:pt x="2" y="3"/>
                  <a:pt x="2" y="2"/>
                  <a:pt x="2" y="2"/>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097" name="ïṥḷîḋe">
            <a:extLst>
              <a:ext uri="{FF2B5EF4-FFF2-40B4-BE49-F238E27FC236}">
                <a16:creationId xmlns:a16="http://schemas.microsoft.com/office/drawing/2014/main" id="{4714AF67-E59C-47C7-BBC7-F7686C06FE27}"/>
              </a:ext>
            </a:extLst>
          </p:cNvPr>
          <p:cNvSpPr/>
          <p:nvPr/>
        </p:nvSpPr>
        <p:spPr bwMode="auto">
          <a:xfrm>
            <a:off x="4016333" y="5230627"/>
            <a:ext cx="22171" cy="39908"/>
          </a:xfrm>
          <a:custGeom>
            <a:avLst/>
            <a:gdLst>
              <a:gd name="T0" fmla="*/ 2 w 3"/>
              <a:gd name="T1" fmla="*/ 2 h 5"/>
              <a:gd name="T2" fmla="*/ 2 w 3"/>
              <a:gd name="T3" fmla="*/ 0 h 5"/>
              <a:gd name="T4" fmla="*/ 2 w 3"/>
              <a:gd name="T5" fmla="*/ 5 h 5"/>
              <a:gd name="T6" fmla="*/ 2 w 3"/>
              <a:gd name="T7" fmla="*/ 5 h 5"/>
              <a:gd name="T8" fmla="*/ 2 w 3"/>
              <a:gd name="T9" fmla="*/ 2 h 5"/>
            </a:gdLst>
            <a:ahLst/>
            <a:cxnLst>
              <a:cxn ang="0">
                <a:pos x="T0" y="T1"/>
              </a:cxn>
              <a:cxn ang="0">
                <a:pos x="T2" y="T3"/>
              </a:cxn>
              <a:cxn ang="0">
                <a:pos x="T4" y="T5"/>
              </a:cxn>
              <a:cxn ang="0">
                <a:pos x="T6" y="T7"/>
              </a:cxn>
              <a:cxn ang="0">
                <a:pos x="T8" y="T9"/>
              </a:cxn>
            </a:cxnLst>
            <a:rect l="0" t="0" r="r" b="b"/>
            <a:pathLst>
              <a:path w="3" h="5">
                <a:moveTo>
                  <a:pt x="2" y="2"/>
                </a:moveTo>
                <a:cubicBezTo>
                  <a:pt x="2" y="1"/>
                  <a:pt x="2" y="0"/>
                  <a:pt x="2" y="0"/>
                </a:cubicBezTo>
                <a:cubicBezTo>
                  <a:pt x="2" y="0"/>
                  <a:pt x="0" y="5"/>
                  <a:pt x="2" y="5"/>
                </a:cubicBezTo>
                <a:cubicBezTo>
                  <a:pt x="2" y="5"/>
                  <a:pt x="2" y="5"/>
                  <a:pt x="2" y="5"/>
                </a:cubicBezTo>
                <a:cubicBezTo>
                  <a:pt x="3" y="5"/>
                  <a:pt x="3" y="3"/>
                  <a:pt x="2" y="2"/>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098" name="ïṡľïḋè">
            <a:extLst>
              <a:ext uri="{FF2B5EF4-FFF2-40B4-BE49-F238E27FC236}">
                <a16:creationId xmlns:a16="http://schemas.microsoft.com/office/drawing/2014/main" id="{8707A91E-9DCA-48FE-BD65-7DC16B651989}"/>
              </a:ext>
            </a:extLst>
          </p:cNvPr>
          <p:cNvSpPr/>
          <p:nvPr/>
        </p:nvSpPr>
        <p:spPr bwMode="auto">
          <a:xfrm>
            <a:off x="2739267" y="5447905"/>
            <a:ext cx="8868" cy="17737"/>
          </a:xfrm>
          <a:custGeom>
            <a:avLst/>
            <a:gdLst>
              <a:gd name="T0" fmla="*/ 1 w 1"/>
              <a:gd name="T1" fmla="*/ 0 h 2"/>
              <a:gd name="T2" fmla="*/ 1 w 1"/>
              <a:gd name="T3" fmla="*/ 2 h 2"/>
              <a:gd name="T4" fmla="*/ 1 w 1"/>
              <a:gd name="T5" fmla="*/ 0 h 2"/>
            </a:gdLst>
            <a:ahLst/>
            <a:cxnLst>
              <a:cxn ang="0">
                <a:pos x="T0" y="T1"/>
              </a:cxn>
              <a:cxn ang="0">
                <a:pos x="T2" y="T3"/>
              </a:cxn>
              <a:cxn ang="0">
                <a:pos x="T4" y="T5"/>
              </a:cxn>
            </a:cxnLst>
            <a:rect l="0" t="0" r="r" b="b"/>
            <a:pathLst>
              <a:path w="1" h="2">
                <a:moveTo>
                  <a:pt x="1" y="0"/>
                </a:moveTo>
                <a:cubicBezTo>
                  <a:pt x="1" y="0"/>
                  <a:pt x="0" y="2"/>
                  <a:pt x="1" y="2"/>
                </a:cubicBezTo>
                <a:cubicBezTo>
                  <a:pt x="1" y="2"/>
                  <a:pt x="1" y="0"/>
                  <a:pt x="1" y="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099" name="ïŝľiďé">
            <a:extLst>
              <a:ext uri="{FF2B5EF4-FFF2-40B4-BE49-F238E27FC236}">
                <a16:creationId xmlns:a16="http://schemas.microsoft.com/office/drawing/2014/main" id="{23BB9556-12BE-4AE1-9C01-081151566B78}"/>
              </a:ext>
            </a:extLst>
          </p:cNvPr>
          <p:cNvSpPr/>
          <p:nvPr/>
        </p:nvSpPr>
        <p:spPr bwMode="auto">
          <a:xfrm>
            <a:off x="3200429" y="5261666"/>
            <a:ext cx="8868" cy="8868"/>
          </a:xfrm>
          <a:custGeom>
            <a:avLst/>
            <a:gdLst>
              <a:gd name="T0" fmla="*/ 1 w 1"/>
              <a:gd name="T1" fmla="*/ 1 h 1"/>
              <a:gd name="T2" fmla="*/ 0 w 1"/>
              <a:gd name="T3" fmla="*/ 0 h 1"/>
              <a:gd name="T4" fmla="*/ 0 w 1"/>
              <a:gd name="T5" fmla="*/ 0 h 1"/>
              <a:gd name="T6" fmla="*/ 0 w 1"/>
              <a:gd name="T7" fmla="*/ 1 h 1"/>
              <a:gd name="T8" fmla="*/ 0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cubicBezTo>
                  <a:pt x="1" y="1"/>
                  <a:pt x="0" y="0"/>
                  <a:pt x="0" y="0"/>
                </a:cubicBezTo>
                <a:cubicBezTo>
                  <a:pt x="0" y="0"/>
                  <a:pt x="0" y="0"/>
                  <a:pt x="0" y="0"/>
                </a:cubicBezTo>
                <a:cubicBezTo>
                  <a:pt x="0" y="0"/>
                  <a:pt x="0" y="1"/>
                  <a:pt x="0" y="1"/>
                </a:cubicBezTo>
                <a:cubicBezTo>
                  <a:pt x="0" y="1"/>
                  <a:pt x="0" y="1"/>
                  <a:pt x="0" y="1"/>
                </a:cubicBezTo>
                <a:cubicBezTo>
                  <a:pt x="0" y="1"/>
                  <a:pt x="1" y="1"/>
                  <a:pt x="1" y="1"/>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00" name="iṥļïďe">
            <a:extLst>
              <a:ext uri="{FF2B5EF4-FFF2-40B4-BE49-F238E27FC236}">
                <a16:creationId xmlns:a16="http://schemas.microsoft.com/office/drawing/2014/main" id="{D5B756F1-DE3B-4BBE-809B-BBB313029E0D}"/>
              </a:ext>
            </a:extLst>
          </p:cNvPr>
          <p:cNvSpPr/>
          <p:nvPr/>
        </p:nvSpPr>
        <p:spPr bwMode="auto">
          <a:xfrm>
            <a:off x="2739267" y="5465642"/>
            <a:ext cx="8868" cy="4434"/>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01" name="ïŝlïḋè">
            <a:extLst>
              <a:ext uri="{FF2B5EF4-FFF2-40B4-BE49-F238E27FC236}">
                <a16:creationId xmlns:a16="http://schemas.microsoft.com/office/drawing/2014/main" id="{34073297-2965-410B-A8E7-7B6DA63ED9FB}"/>
              </a:ext>
            </a:extLst>
          </p:cNvPr>
          <p:cNvSpPr/>
          <p:nvPr/>
        </p:nvSpPr>
        <p:spPr bwMode="auto">
          <a:xfrm>
            <a:off x="2739267" y="5465642"/>
            <a:ext cx="8868" cy="4434"/>
          </a:xfrm>
          <a:custGeom>
            <a:avLst/>
            <a:gdLst>
              <a:gd name="T0" fmla="*/ 1 w 1"/>
              <a:gd name="T1" fmla="*/ 1 h 1"/>
              <a:gd name="T2" fmla="*/ 1 w 1"/>
              <a:gd name="T3" fmla="*/ 1 h 1"/>
              <a:gd name="T4" fmla="*/ 1 w 1"/>
              <a:gd name="T5" fmla="*/ 0 h 1"/>
              <a:gd name="T6" fmla="*/ 0 w 1"/>
              <a:gd name="T7" fmla="*/ 1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1" y="0"/>
                  <a:pt x="1" y="0"/>
                  <a:pt x="1" y="0"/>
                </a:cubicBezTo>
                <a:cubicBezTo>
                  <a:pt x="0" y="0"/>
                  <a:pt x="0" y="1"/>
                  <a:pt x="0" y="1"/>
                </a:cubicBezTo>
                <a:cubicBezTo>
                  <a:pt x="0" y="1"/>
                  <a:pt x="0" y="1"/>
                  <a:pt x="1" y="1"/>
                </a:cubicBezTo>
                <a:cubicBezTo>
                  <a:pt x="1" y="1"/>
                  <a:pt x="1" y="1"/>
                  <a:pt x="1" y="1"/>
                </a:cubicBezTo>
                <a:cubicBezTo>
                  <a:pt x="1" y="1"/>
                  <a:pt x="1" y="1"/>
                  <a:pt x="1" y="1"/>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02" name="íŝľïḍè">
            <a:extLst>
              <a:ext uri="{FF2B5EF4-FFF2-40B4-BE49-F238E27FC236}">
                <a16:creationId xmlns:a16="http://schemas.microsoft.com/office/drawing/2014/main" id="{95D8C138-7F44-4BB6-9852-10D4D34D15E2}"/>
              </a:ext>
            </a:extLst>
          </p:cNvPr>
          <p:cNvSpPr/>
          <p:nvPr/>
        </p:nvSpPr>
        <p:spPr bwMode="auto">
          <a:xfrm>
            <a:off x="4016333" y="5297140"/>
            <a:ext cx="22171" cy="22171"/>
          </a:xfrm>
          <a:custGeom>
            <a:avLst/>
            <a:gdLst>
              <a:gd name="T0" fmla="*/ 3 w 3"/>
              <a:gd name="T1" fmla="*/ 2 h 3"/>
              <a:gd name="T2" fmla="*/ 2 w 3"/>
              <a:gd name="T3" fmla="*/ 0 h 3"/>
              <a:gd name="T4" fmla="*/ 1 w 3"/>
              <a:gd name="T5" fmla="*/ 0 h 3"/>
              <a:gd name="T6" fmla="*/ 0 w 3"/>
              <a:gd name="T7" fmla="*/ 1 h 3"/>
              <a:gd name="T8" fmla="*/ 1 w 3"/>
              <a:gd name="T9" fmla="*/ 3 h 3"/>
              <a:gd name="T10" fmla="*/ 2 w 3"/>
              <a:gd name="T11" fmla="*/ 3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1"/>
                  <a:pt x="3" y="0"/>
                  <a:pt x="2" y="0"/>
                </a:cubicBezTo>
                <a:cubicBezTo>
                  <a:pt x="2" y="0"/>
                  <a:pt x="1" y="0"/>
                  <a:pt x="1" y="0"/>
                </a:cubicBezTo>
                <a:cubicBezTo>
                  <a:pt x="1" y="0"/>
                  <a:pt x="0" y="1"/>
                  <a:pt x="0" y="1"/>
                </a:cubicBezTo>
                <a:cubicBezTo>
                  <a:pt x="0" y="2"/>
                  <a:pt x="0" y="2"/>
                  <a:pt x="1" y="3"/>
                </a:cubicBezTo>
                <a:cubicBezTo>
                  <a:pt x="1" y="3"/>
                  <a:pt x="1" y="3"/>
                  <a:pt x="2" y="3"/>
                </a:cubicBezTo>
                <a:cubicBezTo>
                  <a:pt x="3" y="3"/>
                  <a:pt x="3" y="2"/>
                  <a:pt x="3" y="2"/>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03" name="iṥḻîdê">
            <a:extLst>
              <a:ext uri="{FF2B5EF4-FFF2-40B4-BE49-F238E27FC236}">
                <a16:creationId xmlns:a16="http://schemas.microsoft.com/office/drawing/2014/main" id="{FC34702D-4BF3-4FF2-A5AA-16803E8C1767}"/>
              </a:ext>
            </a:extLst>
          </p:cNvPr>
          <p:cNvSpPr/>
          <p:nvPr/>
        </p:nvSpPr>
        <p:spPr bwMode="auto">
          <a:xfrm>
            <a:off x="2739267" y="5478946"/>
            <a:ext cx="8868" cy="8868"/>
          </a:xfrm>
          <a:custGeom>
            <a:avLst/>
            <a:gdLst>
              <a:gd name="T0" fmla="*/ 1 w 1"/>
              <a:gd name="T1" fmla="*/ 0 h 1"/>
              <a:gd name="T2" fmla="*/ 1 w 1"/>
              <a:gd name="T3" fmla="*/ 0 h 1"/>
              <a:gd name="T4" fmla="*/ 1 w 1"/>
              <a:gd name="T5" fmla="*/ 0 h 1"/>
              <a:gd name="T6" fmla="*/ 0 w 1"/>
              <a:gd name="T7" fmla="*/ 0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0"/>
                  <a:pt x="1" y="0"/>
                  <a:pt x="1" y="0"/>
                </a:cubicBezTo>
                <a:cubicBezTo>
                  <a:pt x="1" y="0"/>
                  <a:pt x="1" y="0"/>
                  <a:pt x="1" y="0"/>
                </a:cubicBezTo>
                <a:cubicBezTo>
                  <a:pt x="0" y="0"/>
                  <a:pt x="0" y="0"/>
                  <a:pt x="0" y="0"/>
                </a:cubicBezTo>
                <a:cubicBezTo>
                  <a:pt x="0" y="1"/>
                  <a:pt x="0" y="1"/>
                  <a:pt x="1" y="1"/>
                </a:cubicBezTo>
                <a:cubicBezTo>
                  <a:pt x="1" y="1"/>
                  <a:pt x="1" y="1"/>
                  <a:pt x="1" y="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04" name="ïṧḷîďè">
            <a:extLst>
              <a:ext uri="{FF2B5EF4-FFF2-40B4-BE49-F238E27FC236}">
                <a16:creationId xmlns:a16="http://schemas.microsoft.com/office/drawing/2014/main" id="{F3C9993E-5760-4598-AC42-08F194C9F6CD}"/>
              </a:ext>
            </a:extLst>
          </p:cNvPr>
          <p:cNvSpPr/>
          <p:nvPr/>
        </p:nvSpPr>
        <p:spPr bwMode="auto">
          <a:xfrm>
            <a:off x="3187127" y="5230627"/>
            <a:ext cx="22171" cy="31040"/>
          </a:xfrm>
          <a:custGeom>
            <a:avLst/>
            <a:gdLst>
              <a:gd name="T0" fmla="*/ 3 w 3"/>
              <a:gd name="T1" fmla="*/ 1 h 4"/>
              <a:gd name="T2" fmla="*/ 2 w 3"/>
              <a:gd name="T3" fmla="*/ 0 h 4"/>
              <a:gd name="T4" fmla="*/ 2 w 3"/>
              <a:gd name="T5" fmla="*/ 4 h 4"/>
              <a:gd name="T6" fmla="*/ 2 w 3"/>
              <a:gd name="T7" fmla="*/ 4 h 4"/>
              <a:gd name="T8" fmla="*/ 3 w 3"/>
              <a:gd name="T9" fmla="*/ 1 h 4"/>
            </a:gdLst>
            <a:ahLst/>
            <a:cxnLst>
              <a:cxn ang="0">
                <a:pos x="T0" y="T1"/>
              </a:cxn>
              <a:cxn ang="0">
                <a:pos x="T2" y="T3"/>
              </a:cxn>
              <a:cxn ang="0">
                <a:pos x="T4" y="T5"/>
              </a:cxn>
              <a:cxn ang="0">
                <a:pos x="T6" y="T7"/>
              </a:cxn>
              <a:cxn ang="0">
                <a:pos x="T8" y="T9"/>
              </a:cxn>
            </a:cxnLst>
            <a:rect l="0" t="0" r="r" b="b"/>
            <a:pathLst>
              <a:path w="3" h="4">
                <a:moveTo>
                  <a:pt x="3" y="1"/>
                </a:moveTo>
                <a:cubicBezTo>
                  <a:pt x="2" y="1"/>
                  <a:pt x="2" y="0"/>
                  <a:pt x="2" y="0"/>
                </a:cubicBezTo>
                <a:cubicBezTo>
                  <a:pt x="2" y="0"/>
                  <a:pt x="0" y="4"/>
                  <a:pt x="2" y="4"/>
                </a:cubicBezTo>
                <a:cubicBezTo>
                  <a:pt x="2" y="4"/>
                  <a:pt x="2" y="4"/>
                  <a:pt x="2" y="4"/>
                </a:cubicBezTo>
                <a:cubicBezTo>
                  <a:pt x="3" y="4"/>
                  <a:pt x="3" y="3"/>
                  <a:pt x="3" y="1"/>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05" name="íŝḻïďé">
            <a:extLst>
              <a:ext uri="{FF2B5EF4-FFF2-40B4-BE49-F238E27FC236}">
                <a16:creationId xmlns:a16="http://schemas.microsoft.com/office/drawing/2014/main" id="{A8CBEE59-0344-4B47-9151-6AB63EA6F917}"/>
              </a:ext>
            </a:extLst>
          </p:cNvPr>
          <p:cNvSpPr/>
          <p:nvPr/>
        </p:nvSpPr>
        <p:spPr bwMode="auto">
          <a:xfrm>
            <a:off x="2739267" y="5487814"/>
            <a:ext cx="8868" cy="0"/>
          </a:xfrm>
          <a:custGeom>
            <a:avLst/>
            <a:gdLst>
              <a:gd name="T0" fmla="*/ 1 w 1"/>
              <a:gd name="T1" fmla="*/ 0 w 1"/>
              <a:gd name="T2" fmla="*/ 0 w 1"/>
              <a:gd name="T3" fmla="*/ 1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cubicBezTo>
                  <a:pt x="0" y="0"/>
                  <a:pt x="0" y="0"/>
                  <a:pt x="0" y="0"/>
                </a:cubicBezTo>
                <a:cubicBezTo>
                  <a:pt x="0" y="0"/>
                  <a:pt x="0" y="0"/>
                  <a:pt x="0" y="0"/>
                </a:cubicBezTo>
                <a:cubicBezTo>
                  <a:pt x="0" y="0"/>
                  <a:pt x="0" y="0"/>
                  <a:pt x="1" y="0"/>
                </a:cubicBezTo>
                <a:cubicBezTo>
                  <a:pt x="1" y="0"/>
                  <a:pt x="1" y="0"/>
                  <a:pt x="1" y="0"/>
                </a:cubicBezTo>
                <a:cubicBezTo>
                  <a:pt x="1" y="0"/>
                  <a:pt x="1" y="0"/>
                  <a:pt x="1" y="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06" name="işḷîḓé">
            <a:extLst>
              <a:ext uri="{FF2B5EF4-FFF2-40B4-BE49-F238E27FC236}">
                <a16:creationId xmlns:a16="http://schemas.microsoft.com/office/drawing/2014/main" id="{7D15ABF8-ACF7-420F-82D5-70FD6FDD7D32}"/>
              </a:ext>
            </a:extLst>
          </p:cNvPr>
          <p:cNvSpPr/>
          <p:nvPr/>
        </p:nvSpPr>
        <p:spPr bwMode="auto">
          <a:xfrm>
            <a:off x="2739267" y="5470076"/>
            <a:ext cx="8868" cy="8868"/>
          </a:xfrm>
          <a:custGeom>
            <a:avLst/>
            <a:gdLst>
              <a:gd name="T0" fmla="*/ 1 w 1"/>
              <a:gd name="T1" fmla="*/ 1 h 1"/>
              <a:gd name="T2" fmla="*/ 1 w 1"/>
              <a:gd name="T3" fmla="*/ 0 h 1"/>
              <a:gd name="T4" fmla="*/ 1 w 1"/>
              <a:gd name="T5" fmla="*/ 0 h 1"/>
              <a:gd name="T6" fmla="*/ 0 w 1"/>
              <a:gd name="T7" fmla="*/ 1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0"/>
                </a:cubicBezTo>
                <a:cubicBezTo>
                  <a:pt x="1" y="0"/>
                  <a:pt x="1" y="0"/>
                  <a:pt x="1" y="0"/>
                </a:cubicBezTo>
                <a:cubicBezTo>
                  <a:pt x="0" y="0"/>
                  <a:pt x="0" y="0"/>
                  <a:pt x="0" y="1"/>
                </a:cubicBezTo>
                <a:cubicBezTo>
                  <a:pt x="0" y="1"/>
                  <a:pt x="0" y="1"/>
                  <a:pt x="1" y="1"/>
                </a:cubicBezTo>
                <a:cubicBezTo>
                  <a:pt x="1" y="1"/>
                  <a:pt x="1" y="1"/>
                  <a:pt x="1" y="1"/>
                </a:cubicBezTo>
                <a:cubicBezTo>
                  <a:pt x="1" y="1"/>
                  <a:pt x="1" y="1"/>
                  <a:pt x="1" y="1"/>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07" name="i$1iḍé">
            <a:extLst>
              <a:ext uri="{FF2B5EF4-FFF2-40B4-BE49-F238E27FC236}">
                <a16:creationId xmlns:a16="http://schemas.microsoft.com/office/drawing/2014/main" id="{02CCCEC2-EDE0-4C81-A52C-CBD8D73EE39E}"/>
              </a:ext>
            </a:extLst>
          </p:cNvPr>
          <p:cNvSpPr/>
          <p:nvPr/>
        </p:nvSpPr>
        <p:spPr bwMode="auto">
          <a:xfrm>
            <a:off x="5031778" y="4942399"/>
            <a:ext cx="8868" cy="0"/>
          </a:xfrm>
          <a:custGeom>
            <a:avLst/>
            <a:gdLst>
              <a:gd name="T0" fmla="*/ 1 w 1"/>
              <a:gd name="T1" fmla="*/ 0 w 1"/>
              <a:gd name="T2" fmla="*/ 0 w 1"/>
              <a:gd name="T3" fmla="*/ 0 w 1"/>
              <a:gd name="T4" fmla="*/ 0 w 1"/>
              <a:gd name="T5" fmla="*/ 0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0" y="0"/>
                  <a:pt x="0" y="0"/>
                </a:cubicBezTo>
                <a:cubicBezTo>
                  <a:pt x="0" y="0"/>
                  <a:pt x="0" y="0"/>
                  <a:pt x="0" y="0"/>
                </a:cubicBezTo>
                <a:cubicBezTo>
                  <a:pt x="0" y="0"/>
                  <a:pt x="0" y="0"/>
                  <a:pt x="0" y="0"/>
                </a:cubicBezTo>
                <a:cubicBezTo>
                  <a:pt x="0" y="0"/>
                  <a:pt x="0" y="0"/>
                  <a:pt x="0" y="0"/>
                </a:cubicBezTo>
                <a:cubicBezTo>
                  <a:pt x="0" y="0"/>
                  <a:pt x="0" y="0"/>
                  <a:pt x="0" y="0"/>
                </a:cubicBezTo>
                <a:cubicBezTo>
                  <a:pt x="0" y="0"/>
                  <a:pt x="1" y="0"/>
                  <a:pt x="1" y="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08" name="išliďè">
            <a:extLst>
              <a:ext uri="{FF2B5EF4-FFF2-40B4-BE49-F238E27FC236}">
                <a16:creationId xmlns:a16="http://schemas.microsoft.com/office/drawing/2014/main" id="{CAB4CA10-BF85-4EB9-A52A-53F77DEA786B}"/>
              </a:ext>
            </a:extLst>
          </p:cNvPr>
          <p:cNvSpPr/>
          <p:nvPr/>
        </p:nvSpPr>
        <p:spPr bwMode="auto">
          <a:xfrm>
            <a:off x="2193852" y="4898057"/>
            <a:ext cx="13303" cy="13303"/>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1" y="0"/>
                  <a:pt x="0" y="2"/>
                  <a:pt x="1" y="2"/>
                </a:cubicBezTo>
                <a:cubicBezTo>
                  <a:pt x="2" y="2"/>
                  <a:pt x="1" y="0"/>
                  <a:pt x="1" y="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09" name="îṩľîde">
            <a:extLst>
              <a:ext uri="{FF2B5EF4-FFF2-40B4-BE49-F238E27FC236}">
                <a16:creationId xmlns:a16="http://schemas.microsoft.com/office/drawing/2014/main" id="{1502769C-2855-4452-8162-101FB0B96F45}"/>
              </a:ext>
            </a:extLst>
          </p:cNvPr>
          <p:cNvSpPr/>
          <p:nvPr/>
        </p:nvSpPr>
        <p:spPr bwMode="auto">
          <a:xfrm>
            <a:off x="5027344" y="4942399"/>
            <a:ext cx="13303" cy="22171"/>
          </a:xfrm>
          <a:custGeom>
            <a:avLst/>
            <a:gdLst>
              <a:gd name="T0" fmla="*/ 1 w 2"/>
              <a:gd name="T1" fmla="*/ 2 h 3"/>
              <a:gd name="T2" fmla="*/ 2 w 2"/>
              <a:gd name="T3" fmla="*/ 1 h 3"/>
              <a:gd name="T4" fmla="*/ 1 w 2"/>
              <a:gd name="T5" fmla="*/ 0 h 3"/>
              <a:gd name="T6" fmla="*/ 1 w 2"/>
              <a:gd name="T7" fmla="*/ 0 h 3"/>
              <a:gd name="T8" fmla="*/ 0 w 2"/>
              <a:gd name="T9" fmla="*/ 1 h 3"/>
              <a:gd name="T10" fmla="*/ 1 w 2"/>
              <a:gd name="T11" fmla="*/ 2 h 3"/>
              <a:gd name="T12" fmla="*/ 1 w 2"/>
              <a:gd name="T13" fmla="*/ 2 h 3"/>
              <a:gd name="T14" fmla="*/ 1 w 2"/>
              <a:gd name="T15" fmla="*/ 3 h 3"/>
              <a:gd name="T16" fmla="*/ 1 w 2"/>
              <a:gd name="T17" fmla="*/ 3 h 3"/>
              <a:gd name="T18" fmla="*/ 2 w 2"/>
              <a:gd name="T19" fmla="*/ 2 h 3"/>
              <a:gd name="T20" fmla="*/ 1 w 2"/>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3">
                <a:moveTo>
                  <a:pt x="1" y="2"/>
                </a:moveTo>
                <a:cubicBezTo>
                  <a:pt x="2" y="2"/>
                  <a:pt x="2" y="2"/>
                  <a:pt x="2" y="1"/>
                </a:cubicBezTo>
                <a:cubicBezTo>
                  <a:pt x="2" y="1"/>
                  <a:pt x="2" y="1"/>
                  <a:pt x="1" y="0"/>
                </a:cubicBezTo>
                <a:cubicBezTo>
                  <a:pt x="1" y="0"/>
                  <a:pt x="1" y="0"/>
                  <a:pt x="1" y="0"/>
                </a:cubicBezTo>
                <a:cubicBezTo>
                  <a:pt x="1" y="0"/>
                  <a:pt x="0" y="1"/>
                  <a:pt x="0" y="1"/>
                </a:cubicBezTo>
                <a:cubicBezTo>
                  <a:pt x="0" y="2"/>
                  <a:pt x="1" y="2"/>
                  <a:pt x="1" y="2"/>
                </a:cubicBezTo>
                <a:cubicBezTo>
                  <a:pt x="1" y="2"/>
                  <a:pt x="1" y="2"/>
                  <a:pt x="1" y="2"/>
                </a:cubicBezTo>
                <a:cubicBezTo>
                  <a:pt x="1" y="2"/>
                  <a:pt x="1" y="3"/>
                  <a:pt x="1" y="3"/>
                </a:cubicBezTo>
                <a:cubicBezTo>
                  <a:pt x="1" y="3"/>
                  <a:pt x="1" y="3"/>
                  <a:pt x="1" y="3"/>
                </a:cubicBezTo>
                <a:cubicBezTo>
                  <a:pt x="1" y="3"/>
                  <a:pt x="2" y="2"/>
                  <a:pt x="2" y="2"/>
                </a:cubicBezTo>
                <a:cubicBezTo>
                  <a:pt x="2" y="2"/>
                  <a:pt x="1" y="2"/>
                  <a:pt x="1" y="2"/>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10" name="ísḻïḋè">
            <a:extLst>
              <a:ext uri="{FF2B5EF4-FFF2-40B4-BE49-F238E27FC236}">
                <a16:creationId xmlns:a16="http://schemas.microsoft.com/office/drawing/2014/main" id="{321CD838-C215-4976-8235-9B350B8B83AA}"/>
              </a:ext>
            </a:extLst>
          </p:cNvPr>
          <p:cNvSpPr/>
          <p:nvPr/>
        </p:nvSpPr>
        <p:spPr bwMode="auto">
          <a:xfrm>
            <a:off x="5027344" y="4929097"/>
            <a:ext cx="13303" cy="13303"/>
          </a:xfrm>
          <a:custGeom>
            <a:avLst/>
            <a:gdLst>
              <a:gd name="T0" fmla="*/ 2 w 2"/>
              <a:gd name="T1" fmla="*/ 1 h 2"/>
              <a:gd name="T2" fmla="*/ 2 w 2"/>
              <a:gd name="T3" fmla="*/ 0 h 2"/>
              <a:gd name="T4" fmla="*/ 1 w 2"/>
              <a:gd name="T5" fmla="*/ 0 h 2"/>
              <a:gd name="T6" fmla="*/ 0 w 2"/>
              <a:gd name="T7" fmla="*/ 1 h 2"/>
              <a:gd name="T8" fmla="*/ 1 w 2"/>
              <a:gd name="T9" fmla="*/ 2 h 2"/>
              <a:gd name="T10" fmla="*/ 1 w 2"/>
              <a:gd name="T11" fmla="*/ 2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1"/>
                  <a:pt x="2" y="1"/>
                  <a:pt x="2" y="0"/>
                </a:cubicBezTo>
                <a:cubicBezTo>
                  <a:pt x="2" y="0"/>
                  <a:pt x="1" y="0"/>
                  <a:pt x="1" y="0"/>
                </a:cubicBezTo>
                <a:cubicBezTo>
                  <a:pt x="1" y="0"/>
                  <a:pt x="0" y="1"/>
                  <a:pt x="0" y="1"/>
                </a:cubicBezTo>
                <a:cubicBezTo>
                  <a:pt x="0" y="1"/>
                  <a:pt x="1" y="2"/>
                  <a:pt x="1" y="2"/>
                </a:cubicBezTo>
                <a:cubicBezTo>
                  <a:pt x="1" y="2"/>
                  <a:pt x="1" y="2"/>
                  <a:pt x="1" y="2"/>
                </a:cubicBezTo>
                <a:cubicBezTo>
                  <a:pt x="2" y="2"/>
                  <a:pt x="2" y="1"/>
                  <a:pt x="2" y="1"/>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11" name="íṩḷïďè">
            <a:extLst>
              <a:ext uri="{FF2B5EF4-FFF2-40B4-BE49-F238E27FC236}">
                <a16:creationId xmlns:a16="http://schemas.microsoft.com/office/drawing/2014/main" id="{5802EDF1-F35F-4D95-9AC6-3A8A00EECD8E}"/>
              </a:ext>
            </a:extLst>
          </p:cNvPr>
          <p:cNvSpPr/>
          <p:nvPr/>
        </p:nvSpPr>
        <p:spPr bwMode="auto">
          <a:xfrm>
            <a:off x="2193852" y="4920228"/>
            <a:ext cx="13303" cy="8868"/>
          </a:xfrm>
          <a:custGeom>
            <a:avLst/>
            <a:gdLst>
              <a:gd name="T0" fmla="*/ 2 w 2"/>
              <a:gd name="T1" fmla="*/ 1 h 1"/>
              <a:gd name="T2" fmla="*/ 1 w 2"/>
              <a:gd name="T3" fmla="*/ 0 h 1"/>
              <a:gd name="T4" fmla="*/ 1 w 2"/>
              <a:gd name="T5" fmla="*/ 0 h 1"/>
              <a:gd name="T6" fmla="*/ 0 w 2"/>
              <a:gd name="T7" fmla="*/ 1 h 1"/>
              <a:gd name="T8" fmla="*/ 1 w 2"/>
              <a:gd name="T9" fmla="*/ 1 h 1"/>
              <a:gd name="T10" fmla="*/ 1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0"/>
                  <a:pt x="2" y="0"/>
                  <a:pt x="1" y="0"/>
                </a:cubicBezTo>
                <a:cubicBezTo>
                  <a:pt x="1" y="0"/>
                  <a:pt x="1" y="0"/>
                  <a:pt x="1" y="0"/>
                </a:cubicBezTo>
                <a:cubicBezTo>
                  <a:pt x="0" y="0"/>
                  <a:pt x="0" y="0"/>
                  <a:pt x="0" y="1"/>
                </a:cubicBezTo>
                <a:cubicBezTo>
                  <a:pt x="0" y="1"/>
                  <a:pt x="0" y="1"/>
                  <a:pt x="1" y="1"/>
                </a:cubicBezTo>
                <a:cubicBezTo>
                  <a:pt x="1" y="1"/>
                  <a:pt x="1" y="1"/>
                  <a:pt x="1" y="1"/>
                </a:cubicBezTo>
                <a:cubicBezTo>
                  <a:pt x="1" y="1"/>
                  <a:pt x="2" y="1"/>
                  <a:pt x="2" y="1"/>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12" name="îṥḷíḑê">
            <a:extLst>
              <a:ext uri="{FF2B5EF4-FFF2-40B4-BE49-F238E27FC236}">
                <a16:creationId xmlns:a16="http://schemas.microsoft.com/office/drawing/2014/main" id="{23648A40-2F16-4F3F-83CB-F0385899DFAD}"/>
              </a:ext>
            </a:extLst>
          </p:cNvPr>
          <p:cNvSpPr/>
          <p:nvPr/>
        </p:nvSpPr>
        <p:spPr bwMode="auto">
          <a:xfrm>
            <a:off x="2198288" y="4911360"/>
            <a:ext cx="4434" cy="8868"/>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13" name="ïşľiḑê">
            <a:extLst>
              <a:ext uri="{FF2B5EF4-FFF2-40B4-BE49-F238E27FC236}">
                <a16:creationId xmlns:a16="http://schemas.microsoft.com/office/drawing/2014/main" id="{B1F58701-EE3D-4C72-A3F4-6E95D9BC13BA}"/>
              </a:ext>
            </a:extLst>
          </p:cNvPr>
          <p:cNvSpPr/>
          <p:nvPr/>
        </p:nvSpPr>
        <p:spPr bwMode="auto">
          <a:xfrm>
            <a:off x="2198288" y="4929097"/>
            <a:ext cx="0" cy="4434"/>
          </a:xfrm>
          <a:custGeom>
            <a:avLst/>
            <a:gdLst>
              <a:gd name="T0" fmla="*/ 1 h 1"/>
              <a:gd name="T1" fmla="*/ 1 h 1"/>
              <a:gd name="T2" fmla="*/ 0 h 1"/>
              <a:gd name="T3" fmla="*/ 1 h 1"/>
              <a:gd name="T4" fmla="*/ 1 h 1"/>
              <a:gd name="T5" fmla="*/ 1 h 1"/>
              <a:gd name="T6" fmla="*/ 1 h 1"/>
            </a:gdLst>
            <a:ahLst/>
            <a:cxnLst>
              <a:cxn ang="0">
                <a:pos x="0" y="T0"/>
              </a:cxn>
              <a:cxn ang="0">
                <a:pos x="0" y="T1"/>
              </a:cxn>
              <a:cxn ang="0">
                <a:pos x="0" y="T2"/>
              </a:cxn>
              <a:cxn ang="0">
                <a:pos x="0" y="T3"/>
              </a:cxn>
              <a:cxn ang="0">
                <a:pos x="0" y="T4"/>
              </a:cxn>
              <a:cxn ang="0">
                <a:pos x="0" y="T5"/>
              </a:cxn>
              <a:cxn ang="0">
                <a:pos x="0" y="T6"/>
              </a:cxn>
            </a:cxnLst>
            <a:rect l="0" t="0" r="r" b="b"/>
            <a:pathLst>
              <a:path h="1">
                <a:moveTo>
                  <a:pt x="0" y="1"/>
                </a:moveTo>
                <a:cubicBezTo>
                  <a:pt x="0" y="1"/>
                  <a:pt x="0" y="1"/>
                  <a:pt x="0" y="1"/>
                </a:cubicBezTo>
                <a:cubicBezTo>
                  <a:pt x="0" y="0"/>
                  <a:pt x="0" y="0"/>
                  <a:pt x="0" y="0"/>
                </a:cubicBezTo>
                <a:cubicBezTo>
                  <a:pt x="0" y="0"/>
                  <a:pt x="0" y="1"/>
                  <a:pt x="0" y="1"/>
                </a:cubicBezTo>
                <a:cubicBezTo>
                  <a:pt x="0" y="1"/>
                  <a:pt x="0" y="1"/>
                  <a:pt x="0" y="1"/>
                </a:cubicBezTo>
                <a:cubicBezTo>
                  <a:pt x="0" y="1"/>
                  <a:pt x="0" y="1"/>
                  <a:pt x="0" y="1"/>
                </a:cubicBezTo>
                <a:cubicBezTo>
                  <a:pt x="0" y="1"/>
                  <a:pt x="0" y="1"/>
                  <a:pt x="0" y="1"/>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14" name="ïśḻîḋè">
            <a:extLst>
              <a:ext uri="{FF2B5EF4-FFF2-40B4-BE49-F238E27FC236}">
                <a16:creationId xmlns:a16="http://schemas.microsoft.com/office/drawing/2014/main" id="{AE5016E7-FAD6-4227-8A26-39761E14BB66}"/>
              </a:ext>
            </a:extLst>
          </p:cNvPr>
          <p:cNvSpPr/>
          <p:nvPr/>
        </p:nvSpPr>
        <p:spPr bwMode="auto">
          <a:xfrm>
            <a:off x="5031778" y="4929097"/>
            <a:ext cx="8868" cy="4434"/>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15" name="iṥḻîdé">
            <a:extLst>
              <a:ext uri="{FF2B5EF4-FFF2-40B4-BE49-F238E27FC236}">
                <a16:creationId xmlns:a16="http://schemas.microsoft.com/office/drawing/2014/main" id="{6BBDE205-B3C1-46E3-9B48-76BC10E1B8EA}"/>
              </a:ext>
            </a:extLst>
          </p:cNvPr>
          <p:cNvSpPr/>
          <p:nvPr/>
        </p:nvSpPr>
        <p:spPr bwMode="auto">
          <a:xfrm>
            <a:off x="4486365" y="5492248"/>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16" name="îsḻîḑê">
            <a:extLst>
              <a:ext uri="{FF2B5EF4-FFF2-40B4-BE49-F238E27FC236}">
                <a16:creationId xmlns:a16="http://schemas.microsoft.com/office/drawing/2014/main" id="{2C9DE37F-30DD-4110-AAAC-07003312195B}"/>
              </a:ext>
            </a:extLst>
          </p:cNvPr>
          <p:cNvSpPr/>
          <p:nvPr/>
        </p:nvSpPr>
        <p:spPr bwMode="auto">
          <a:xfrm>
            <a:off x="4486365" y="5470076"/>
            <a:ext cx="4434" cy="4434"/>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17" name="ïś1ïḑè">
            <a:extLst>
              <a:ext uri="{FF2B5EF4-FFF2-40B4-BE49-F238E27FC236}">
                <a16:creationId xmlns:a16="http://schemas.microsoft.com/office/drawing/2014/main" id="{E89E7231-8380-46E9-890F-D497988BE951}"/>
              </a:ext>
            </a:extLst>
          </p:cNvPr>
          <p:cNvSpPr/>
          <p:nvPr/>
        </p:nvSpPr>
        <p:spPr bwMode="auto">
          <a:xfrm>
            <a:off x="4486365" y="5478946"/>
            <a:ext cx="0" cy="8868"/>
          </a:xfrm>
          <a:custGeom>
            <a:avLst/>
            <a:gdLst>
              <a:gd name="T0" fmla="*/ 0 h 1"/>
              <a:gd name="T1" fmla="*/ 0 h 1"/>
              <a:gd name="T2" fmla="*/ 0 h 1"/>
              <a:gd name="T3" fmla="*/ 0 h 1"/>
              <a:gd name="T4" fmla="*/ 1 h 1"/>
              <a:gd name="T5" fmla="*/ 1 h 1"/>
              <a:gd name="T6" fmla="*/ 0 h 1"/>
            </a:gdLst>
            <a:ahLst/>
            <a:cxnLst>
              <a:cxn ang="0">
                <a:pos x="0" y="T0"/>
              </a:cxn>
              <a:cxn ang="0">
                <a:pos x="0" y="T1"/>
              </a:cxn>
              <a:cxn ang="0">
                <a:pos x="0" y="T2"/>
              </a:cxn>
              <a:cxn ang="0">
                <a:pos x="0" y="T3"/>
              </a:cxn>
              <a:cxn ang="0">
                <a:pos x="0" y="T4"/>
              </a:cxn>
              <a:cxn ang="0">
                <a:pos x="0" y="T5"/>
              </a:cxn>
              <a:cxn ang="0">
                <a:pos x="0" y="T6"/>
              </a:cxn>
            </a:cxnLst>
            <a:rect l="0" t="0" r="r" b="b"/>
            <a:pathLst>
              <a:path h="1">
                <a:moveTo>
                  <a:pt x="0" y="0"/>
                </a:moveTo>
                <a:cubicBezTo>
                  <a:pt x="0" y="0"/>
                  <a:pt x="0" y="0"/>
                  <a:pt x="0" y="0"/>
                </a:cubicBezTo>
                <a:cubicBezTo>
                  <a:pt x="0" y="0"/>
                  <a:pt x="0" y="0"/>
                  <a:pt x="0" y="0"/>
                </a:cubicBezTo>
                <a:cubicBezTo>
                  <a:pt x="0" y="0"/>
                  <a:pt x="0" y="0"/>
                  <a:pt x="0" y="0"/>
                </a:cubicBezTo>
                <a:cubicBezTo>
                  <a:pt x="0" y="1"/>
                  <a:pt x="0" y="1"/>
                  <a:pt x="0" y="1"/>
                </a:cubicBezTo>
                <a:cubicBezTo>
                  <a:pt x="0" y="1"/>
                  <a:pt x="0" y="1"/>
                  <a:pt x="0" y="1"/>
                </a:cubicBezTo>
                <a:cubicBezTo>
                  <a:pt x="0" y="1"/>
                  <a:pt x="0" y="1"/>
                  <a:pt x="0" y="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18" name="î$ḻîḓe">
            <a:extLst>
              <a:ext uri="{FF2B5EF4-FFF2-40B4-BE49-F238E27FC236}">
                <a16:creationId xmlns:a16="http://schemas.microsoft.com/office/drawing/2014/main" id="{D347E695-45EB-4B19-BB81-95B9C9595D41}"/>
              </a:ext>
            </a:extLst>
          </p:cNvPr>
          <p:cNvSpPr/>
          <p:nvPr/>
        </p:nvSpPr>
        <p:spPr bwMode="auto">
          <a:xfrm>
            <a:off x="4486365" y="5470076"/>
            <a:ext cx="4434" cy="8868"/>
          </a:xfrm>
          <a:custGeom>
            <a:avLst/>
            <a:gdLst>
              <a:gd name="T0" fmla="*/ 1 w 1"/>
              <a:gd name="T1" fmla="*/ 1 h 1"/>
              <a:gd name="T2" fmla="*/ 0 w 1"/>
              <a:gd name="T3" fmla="*/ 0 h 1"/>
              <a:gd name="T4" fmla="*/ 0 w 1"/>
              <a:gd name="T5" fmla="*/ 0 h 1"/>
              <a:gd name="T6" fmla="*/ 0 w 1"/>
              <a:gd name="T7" fmla="*/ 1 h 1"/>
              <a:gd name="T8" fmla="*/ 0 w 1"/>
              <a:gd name="T9" fmla="*/ 1 h 1"/>
              <a:gd name="T10" fmla="*/ 0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0" y="0"/>
                  <a:pt x="0" y="0"/>
                </a:cubicBezTo>
                <a:cubicBezTo>
                  <a:pt x="0" y="0"/>
                  <a:pt x="0" y="0"/>
                  <a:pt x="0" y="0"/>
                </a:cubicBezTo>
                <a:cubicBezTo>
                  <a:pt x="0" y="0"/>
                  <a:pt x="0" y="1"/>
                  <a:pt x="0" y="1"/>
                </a:cubicBezTo>
                <a:cubicBezTo>
                  <a:pt x="0" y="1"/>
                  <a:pt x="0" y="1"/>
                  <a:pt x="0" y="1"/>
                </a:cubicBezTo>
                <a:cubicBezTo>
                  <a:pt x="0" y="1"/>
                  <a:pt x="0" y="1"/>
                  <a:pt x="0" y="1"/>
                </a:cubicBezTo>
                <a:cubicBezTo>
                  <a:pt x="0" y="1"/>
                  <a:pt x="1" y="1"/>
                  <a:pt x="1" y="1"/>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19" name="îṡļïďe">
            <a:extLst>
              <a:ext uri="{FF2B5EF4-FFF2-40B4-BE49-F238E27FC236}">
                <a16:creationId xmlns:a16="http://schemas.microsoft.com/office/drawing/2014/main" id="{5ED86195-03BE-4F8C-B5B3-EF5832FB35F6}"/>
              </a:ext>
            </a:extLst>
          </p:cNvPr>
          <p:cNvSpPr/>
          <p:nvPr/>
        </p:nvSpPr>
        <p:spPr bwMode="auto">
          <a:xfrm>
            <a:off x="4477496" y="5456773"/>
            <a:ext cx="13303" cy="13303"/>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1" y="0"/>
                  <a:pt x="0" y="2"/>
                  <a:pt x="1" y="2"/>
                </a:cubicBezTo>
                <a:cubicBezTo>
                  <a:pt x="2" y="2"/>
                  <a:pt x="1" y="0"/>
                  <a:pt x="1" y="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20" name="îšlíḓè">
            <a:extLst>
              <a:ext uri="{FF2B5EF4-FFF2-40B4-BE49-F238E27FC236}">
                <a16:creationId xmlns:a16="http://schemas.microsoft.com/office/drawing/2014/main" id="{A23EC026-4908-4FED-993F-BAC33AA958B6}"/>
              </a:ext>
            </a:extLst>
          </p:cNvPr>
          <p:cNvSpPr/>
          <p:nvPr/>
        </p:nvSpPr>
        <p:spPr bwMode="auto">
          <a:xfrm>
            <a:off x="5027344" y="4906926"/>
            <a:ext cx="13303" cy="22171"/>
          </a:xfrm>
          <a:custGeom>
            <a:avLst/>
            <a:gdLst>
              <a:gd name="T0" fmla="*/ 1 w 2"/>
              <a:gd name="T1" fmla="*/ 0 h 3"/>
              <a:gd name="T2" fmla="*/ 1 w 2"/>
              <a:gd name="T3" fmla="*/ 3 h 3"/>
              <a:gd name="T4" fmla="*/ 1 w 2"/>
              <a:gd name="T5" fmla="*/ 0 h 3"/>
            </a:gdLst>
            <a:ahLst/>
            <a:cxnLst>
              <a:cxn ang="0">
                <a:pos x="T0" y="T1"/>
              </a:cxn>
              <a:cxn ang="0">
                <a:pos x="T2" y="T3"/>
              </a:cxn>
              <a:cxn ang="0">
                <a:pos x="T4" y="T5"/>
              </a:cxn>
            </a:cxnLst>
            <a:rect l="0" t="0" r="r" b="b"/>
            <a:pathLst>
              <a:path w="2" h="3">
                <a:moveTo>
                  <a:pt x="1" y="0"/>
                </a:moveTo>
                <a:cubicBezTo>
                  <a:pt x="1" y="0"/>
                  <a:pt x="0" y="3"/>
                  <a:pt x="1" y="3"/>
                </a:cubicBezTo>
                <a:cubicBezTo>
                  <a:pt x="2" y="3"/>
                  <a:pt x="1" y="0"/>
                  <a:pt x="1" y="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21" name="îşľíḓè">
            <a:extLst>
              <a:ext uri="{FF2B5EF4-FFF2-40B4-BE49-F238E27FC236}">
                <a16:creationId xmlns:a16="http://schemas.microsoft.com/office/drawing/2014/main" id="{877BD8EC-7314-4214-92F8-C171D883BCA5}"/>
              </a:ext>
            </a:extLst>
          </p:cNvPr>
          <p:cNvSpPr/>
          <p:nvPr/>
        </p:nvSpPr>
        <p:spPr bwMode="auto">
          <a:xfrm>
            <a:off x="4025201" y="5319312"/>
            <a:ext cx="4434" cy="8868"/>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22" name="i$líḋè">
            <a:extLst>
              <a:ext uri="{FF2B5EF4-FFF2-40B4-BE49-F238E27FC236}">
                <a16:creationId xmlns:a16="http://schemas.microsoft.com/office/drawing/2014/main" id="{D75E2DB7-B8EB-412C-8812-B55B5436A4A2}"/>
              </a:ext>
            </a:extLst>
          </p:cNvPr>
          <p:cNvSpPr/>
          <p:nvPr/>
        </p:nvSpPr>
        <p:spPr bwMode="auto">
          <a:xfrm>
            <a:off x="4477496" y="5487814"/>
            <a:ext cx="13303" cy="4434"/>
          </a:xfrm>
          <a:custGeom>
            <a:avLst/>
            <a:gdLst>
              <a:gd name="T0" fmla="*/ 2 w 2"/>
              <a:gd name="T1" fmla="*/ 0 h 1"/>
              <a:gd name="T2" fmla="*/ 1 w 2"/>
              <a:gd name="T3" fmla="*/ 0 h 1"/>
              <a:gd name="T4" fmla="*/ 1 w 2"/>
              <a:gd name="T5" fmla="*/ 0 h 1"/>
              <a:gd name="T6" fmla="*/ 0 w 2"/>
              <a:gd name="T7" fmla="*/ 0 h 1"/>
              <a:gd name="T8" fmla="*/ 1 w 2"/>
              <a:gd name="T9" fmla="*/ 1 h 1"/>
              <a:gd name="T10" fmla="*/ 2 w 2"/>
              <a:gd name="T11" fmla="*/ 0 h 1"/>
            </a:gdLst>
            <a:ahLst/>
            <a:cxnLst>
              <a:cxn ang="0">
                <a:pos x="T0" y="T1"/>
              </a:cxn>
              <a:cxn ang="0">
                <a:pos x="T2" y="T3"/>
              </a:cxn>
              <a:cxn ang="0">
                <a:pos x="T4" y="T5"/>
              </a:cxn>
              <a:cxn ang="0">
                <a:pos x="T6" y="T7"/>
              </a:cxn>
              <a:cxn ang="0">
                <a:pos x="T8" y="T9"/>
              </a:cxn>
              <a:cxn ang="0">
                <a:pos x="T10" y="T11"/>
              </a:cxn>
            </a:cxnLst>
            <a:rect l="0" t="0" r="r" b="b"/>
            <a:pathLst>
              <a:path w="2" h="1">
                <a:moveTo>
                  <a:pt x="2" y="0"/>
                </a:moveTo>
                <a:cubicBezTo>
                  <a:pt x="2" y="0"/>
                  <a:pt x="1" y="0"/>
                  <a:pt x="1" y="0"/>
                </a:cubicBezTo>
                <a:cubicBezTo>
                  <a:pt x="1" y="0"/>
                  <a:pt x="1" y="0"/>
                  <a:pt x="1" y="0"/>
                </a:cubicBezTo>
                <a:cubicBezTo>
                  <a:pt x="1" y="0"/>
                  <a:pt x="0" y="0"/>
                  <a:pt x="0" y="0"/>
                </a:cubicBezTo>
                <a:cubicBezTo>
                  <a:pt x="0" y="0"/>
                  <a:pt x="1" y="1"/>
                  <a:pt x="1" y="1"/>
                </a:cubicBezTo>
                <a:cubicBezTo>
                  <a:pt x="1" y="1"/>
                  <a:pt x="2" y="0"/>
                  <a:pt x="2" y="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23" name="ï$ḷíďe">
            <a:extLst>
              <a:ext uri="{FF2B5EF4-FFF2-40B4-BE49-F238E27FC236}">
                <a16:creationId xmlns:a16="http://schemas.microsoft.com/office/drawing/2014/main" id="{ECA05FC3-E906-4809-A1D6-5D2505274577}"/>
              </a:ext>
            </a:extLst>
          </p:cNvPr>
          <p:cNvSpPr/>
          <p:nvPr/>
        </p:nvSpPr>
        <p:spPr bwMode="auto">
          <a:xfrm>
            <a:off x="8508236" y="5310443"/>
            <a:ext cx="1556425" cy="1516517"/>
          </a:xfrm>
          <a:custGeom>
            <a:avLst/>
            <a:gdLst>
              <a:gd name="T0" fmla="*/ 17 w 216"/>
              <a:gd name="T1" fmla="*/ 208 h 209"/>
              <a:gd name="T2" fmla="*/ 106 w 216"/>
              <a:gd name="T3" fmla="*/ 97 h 209"/>
              <a:gd name="T4" fmla="*/ 184 w 216"/>
              <a:gd name="T5" fmla="*/ 173 h 209"/>
              <a:gd name="T6" fmla="*/ 199 w 216"/>
              <a:gd name="T7" fmla="*/ 209 h 209"/>
              <a:gd name="T8" fmla="*/ 216 w 216"/>
              <a:gd name="T9" fmla="*/ 209 h 209"/>
              <a:gd name="T10" fmla="*/ 208 w 216"/>
              <a:gd name="T11" fmla="*/ 168 h 209"/>
              <a:gd name="T12" fmla="*/ 106 w 216"/>
              <a:gd name="T13" fmla="*/ 1 h 209"/>
              <a:gd name="T14" fmla="*/ 0 w 216"/>
              <a:gd name="T15" fmla="*/ 208 h 209"/>
              <a:gd name="T16" fmla="*/ 17 w 216"/>
              <a:gd name="T17" fmla="*/ 20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209">
                <a:moveTo>
                  <a:pt x="17" y="208"/>
                </a:moveTo>
                <a:cubicBezTo>
                  <a:pt x="40" y="143"/>
                  <a:pt x="77" y="98"/>
                  <a:pt x="106" y="97"/>
                </a:cubicBezTo>
                <a:cubicBezTo>
                  <a:pt x="130" y="97"/>
                  <a:pt x="161" y="127"/>
                  <a:pt x="184" y="173"/>
                </a:cubicBezTo>
                <a:cubicBezTo>
                  <a:pt x="190" y="184"/>
                  <a:pt x="195" y="196"/>
                  <a:pt x="199" y="209"/>
                </a:cubicBezTo>
                <a:cubicBezTo>
                  <a:pt x="205" y="209"/>
                  <a:pt x="210" y="209"/>
                  <a:pt x="216" y="209"/>
                </a:cubicBezTo>
                <a:cubicBezTo>
                  <a:pt x="214" y="194"/>
                  <a:pt x="211" y="181"/>
                  <a:pt x="208" y="168"/>
                </a:cubicBezTo>
                <a:cubicBezTo>
                  <a:pt x="187" y="69"/>
                  <a:pt x="149" y="0"/>
                  <a:pt x="106" y="1"/>
                </a:cubicBezTo>
                <a:cubicBezTo>
                  <a:pt x="56" y="1"/>
                  <a:pt x="19" y="89"/>
                  <a:pt x="0" y="208"/>
                </a:cubicBezTo>
                <a:cubicBezTo>
                  <a:pt x="6" y="208"/>
                  <a:pt x="12" y="208"/>
                  <a:pt x="17" y="208"/>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26" name="îṥļîḋé">
            <a:extLst>
              <a:ext uri="{FF2B5EF4-FFF2-40B4-BE49-F238E27FC236}">
                <a16:creationId xmlns:a16="http://schemas.microsoft.com/office/drawing/2014/main" id="{46ADB65A-C898-4A24-A359-FE7BC57CE767}"/>
              </a:ext>
            </a:extLst>
          </p:cNvPr>
          <p:cNvSpPr/>
          <p:nvPr/>
        </p:nvSpPr>
        <p:spPr bwMode="auto">
          <a:xfrm>
            <a:off x="11217568" y="4095456"/>
            <a:ext cx="944497" cy="2740373"/>
          </a:xfrm>
          <a:custGeom>
            <a:avLst/>
            <a:gdLst>
              <a:gd name="T0" fmla="*/ 95 w 131"/>
              <a:gd name="T1" fmla="*/ 378 h 378"/>
              <a:gd name="T2" fmla="*/ 95 w 131"/>
              <a:gd name="T3" fmla="*/ 289 h 378"/>
              <a:gd name="T4" fmla="*/ 84 w 131"/>
              <a:gd name="T5" fmla="*/ 231 h 378"/>
              <a:gd name="T6" fmla="*/ 74 w 131"/>
              <a:gd name="T7" fmla="*/ 132 h 378"/>
              <a:gd name="T8" fmla="*/ 69 w 131"/>
              <a:gd name="T9" fmla="*/ 71 h 378"/>
              <a:gd name="T10" fmla="*/ 50 w 131"/>
              <a:gd name="T11" fmla="*/ 38 h 378"/>
              <a:gd name="T12" fmla="*/ 50 w 131"/>
              <a:gd name="T13" fmla="*/ 108 h 378"/>
              <a:gd name="T14" fmla="*/ 32 w 131"/>
              <a:gd name="T15" fmla="*/ 261 h 378"/>
              <a:gd name="T16" fmla="*/ 31 w 131"/>
              <a:gd name="T17" fmla="*/ 298 h 378"/>
              <a:gd name="T18" fmla="*/ 8 w 131"/>
              <a:gd name="T19" fmla="*/ 344 h 378"/>
              <a:gd name="T20" fmla="*/ 23 w 131"/>
              <a:gd name="T21" fmla="*/ 349 h 378"/>
              <a:gd name="T22" fmla="*/ 33 w 131"/>
              <a:gd name="T23" fmla="*/ 353 h 378"/>
              <a:gd name="T24" fmla="*/ 32 w 131"/>
              <a:gd name="T25" fmla="*/ 342 h 378"/>
              <a:gd name="T26" fmla="*/ 42 w 131"/>
              <a:gd name="T27" fmla="*/ 273 h 378"/>
              <a:gd name="T28" fmla="*/ 47 w 131"/>
              <a:gd name="T29" fmla="*/ 361 h 378"/>
              <a:gd name="T30" fmla="*/ 51 w 131"/>
              <a:gd name="T31" fmla="*/ 310 h 378"/>
              <a:gd name="T32" fmla="*/ 30 w 131"/>
              <a:gd name="T33" fmla="*/ 322 h 378"/>
              <a:gd name="T34" fmla="*/ 44 w 131"/>
              <a:gd name="T35" fmla="*/ 358 h 378"/>
              <a:gd name="T36" fmla="*/ 53 w 131"/>
              <a:gd name="T37" fmla="*/ 289 h 378"/>
              <a:gd name="T38" fmla="*/ 59 w 131"/>
              <a:gd name="T39" fmla="*/ 366 h 378"/>
              <a:gd name="T40" fmla="*/ 65 w 131"/>
              <a:gd name="T41" fmla="*/ 79 h 378"/>
              <a:gd name="T42" fmla="*/ 68 w 131"/>
              <a:gd name="T43" fmla="*/ 187 h 378"/>
              <a:gd name="T44" fmla="*/ 67 w 131"/>
              <a:gd name="T45" fmla="*/ 278 h 378"/>
              <a:gd name="T46" fmla="*/ 66 w 131"/>
              <a:gd name="T47" fmla="*/ 184 h 378"/>
              <a:gd name="T48" fmla="*/ 66 w 131"/>
              <a:gd name="T49" fmla="*/ 146 h 378"/>
              <a:gd name="T50" fmla="*/ 62 w 131"/>
              <a:gd name="T51" fmla="*/ 161 h 378"/>
              <a:gd name="T52" fmla="*/ 65 w 131"/>
              <a:gd name="T53" fmla="*/ 204 h 378"/>
              <a:gd name="T54" fmla="*/ 57 w 131"/>
              <a:gd name="T55" fmla="*/ 268 h 378"/>
              <a:gd name="T56" fmla="*/ 77 w 131"/>
              <a:gd name="T57" fmla="*/ 255 h 378"/>
              <a:gd name="T58" fmla="*/ 73 w 131"/>
              <a:gd name="T59" fmla="*/ 203 h 378"/>
              <a:gd name="T60" fmla="*/ 73 w 131"/>
              <a:gd name="T61" fmla="*/ 159 h 378"/>
              <a:gd name="T62" fmla="*/ 67 w 131"/>
              <a:gd name="T63" fmla="*/ 117 h 378"/>
              <a:gd name="T64" fmla="*/ 63 w 131"/>
              <a:gd name="T65" fmla="*/ 122 h 378"/>
              <a:gd name="T66" fmla="*/ 61 w 131"/>
              <a:gd name="T67" fmla="*/ 52 h 378"/>
              <a:gd name="T68" fmla="*/ 58 w 131"/>
              <a:gd name="T69" fmla="*/ 246 h 378"/>
              <a:gd name="T70" fmla="*/ 53 w 131"/>
              <a:gd name="T71" fmla="*/ 86 h 378"/>
              <a:gd name="T72" fmla="*/ 54 w 131"/>
              <a:gd name="T73" fmla="*/ 141 h 378"/>
              <a:gd name="T74" fmla="*/ 50 w 131"/>
              <a:gd name="T75" fmla="*/ 182 h 378"/>
              <a:gd name="T76" fmla="*/ 50 w 131"/>
              <a:gd name="T77" fmla="*/ 239 h 378"/>
              <a:gd name="T78" fmla="*/ 86 w 131"/>
              <a:gd name="T79" fmla="*/ 338 h 378"/>
              <a:gd name="T80" fmla="*/ 81 w 131"/>
              <a:gd name="T81" fmla="*/ 358 h 378"/>
              <a:gd name="T82" fmla="*/ 83 w 131"/>
              <a:gd name="T83" fmla="*/ 317 h 378"/>
              <a:gd name="T84" fmla="*/ 74 w 131"/>
              <a:gd name="T85" fmla="*/ 357 h 378"/>
              <a:gd name="T86" fmla="*/ 84 w 131"/>
              <a:gd name="T87" fmla="*/ 270 h 378"/>
              <a:gd name="T88" fmla="*/ 62 w 131"/>
              <a:gd name="T89" fmla="*/ 367 h 378"/>
              <a:gd name="T90" fmla="*/ 76 w 131"/>
              <a:gd name="T91" fmla="*/ 366 h 378"/>
              <a:gd name="T92" fmla="*/ 84 w 131"/>
              <a:gd name="T93" fmla="*/ 367 h 378"/>
              <a:gd name="T94" fmla="*/ 97 w 131"/>
              <a:gd name="T95" fmla="*/ 350 h 378"/>
              <a:gd name="T96" fmla="*/ 106 w 131"/>
              <a:gd name="T97" fmla="*/ 368 h 378"/>
              <a:gd name="T98" fmla="*/ 115 w 131"/>
              <a:gd name="T99" fmla="*/ 360 h 378"/>
              <a:gd name="T100" fmla="*/ 105 w 131"/>
              <a:gd name="T101" fmla="*/ 341 h 378"/>
              <a:gd name="T102" fmla="*/ 90 w 131"/>
              <a:gd name="T103" fmla="*/ 266 h 378"/>
              <a:gd name="T104" fmla="*/ 78 w 131"/>
              <a:gd name="T105" fmla="*/ 197 h 378"/>
              <a:gd name="T106" fmla="*/ 70 w 131"/>
              <a:gd name="T107" fmla="*/ 103 h 378"/>
              <a:gd name="T108" fmla="*/ 71 w 131"/>
              <a:gd name="T109" fmla="*/ 42 h 378"/>
              <a:gd name="T110" fmla="*/ 52 w 131"/>
              <a:gd name="T111" fmla="*/ 37 h 378"/>
              <a:gd name="T112" fmla="*/ 53 w 131"/>
              <a:gd name="T113" fmla="*/ 116 h 378"/>
              <a:gd name="T114" fmla="*/ 46 w 131"/>
              <a:gd name="T115" fmla="*/ 210 h 378"/>
              <a:gd name="T116" fmla="*/ 43 w 131"/>
              <a:gd name="T117" fmla="*/ 269 h 378"/>
              <a:gd name="T118" fmla="*/ 32 w 131"/>
              <a:gd name="T119" fmla="*/ 300 h 378"/>
              <a:gd name="T120" fmla="*/ 21 w 131"/>
              <a:gd name="T121" fmla="*/ 331 h 378"/>
              <a:gd name="T122" fmla="*/ 15 w 131"/>
              <a:gd name="T123" fmla="*/ 347 h 378"/>
              <a:gd name="T124" fmla="*/ 19 w 131"/>
              <a:gd name="T125" fmla="*/ 359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1" h="378">
                <a:moveTo>
                  <a:pt x="26" y="378"/>
                </a:moveTo>
                <a:cubicBezTo>
                  <a:pt x="26" y="378"/>
                  <a:pt x="26" y="378"/>
                  <a:pt x="26" y="378"/>
                </a:cubicBezTo>
                <a:cubicBezTo>
                  <a:pt x="26" y="377"/>
                  <a:pt x="26" y="377"/>
                  <a:pt x="26" y="377"/>
                </a:cubicBezTo>
                <a:cubicBezTo>
                  <a:pt x="27" y="378"/>
                  <a:pt x="27" y="378"/>
                  <a:pt x="27" y="378"/>
                </a:cubicBezTo>
                <a:cubicBezTo>
                  <a:pt x="28" y="378"/>
                  <a:pt x="28" y="378"/>
                  <a:pt x="29" y="378"/>
                </a:cubicBezTo>
                <a:cubicBezTo>
                  <a:pt x="28" y="377"/>
                  <a:pt x="28" y="377"/>
                  <a:pt x="28" y="377"/>
                </a:cubicBezTo>
                <a:cubicBezTo>
                  <a:pt x="28" y="376"/>
                  <a:pt x="28" y="376"/>
                  <a:pt x="28" y="376"/>
                </a:cubicBezTo>
                <a:cubicBezTo>
                  <a:pt x="29" y="376"/>
                  <a:pt x="29" y="376"/>
                  <a:pt x="29" y="376"/>
                </a:cubicBezTo>
                <a:cubicBezTo>
                  <a:pt x="32" y="376"/>
                  <a:pt x="32" y="376"/>
                  <a:pt x="32" y="376"/>
                </a:cubicBezTo>
                <a:cubicBezTo>
                  <a:pt x="34" y="376"/>
                  <a:pt x="34" y="376"/>
                  <a:pt x="34" y="376"/>
                </a:cubicBezTo>
                <a:cubicBezTo>
                  <a:pt x="35" y="378"/>
                  <a:pt x="35" y="378"/>
                  <a:pt x="35" y="378"/>
                </a:cubicBezTo>
                <a:cubicBezTo>
                  <a:pt x="37" y="378"/>
                  <a:pt x="37" y="378"/>
                  <a:pt x="37" y="378"/>
                </a:cubicBezTo>
                <a:cubicBezTo>
                  <a:pt x="36" y="376"/>
                  <a:pt x="36" y="376"/>
                  <a:pt x="36" y="376"/>
                </a:cubicBezTo>
                <a:cubicBezTo>
                  <a:pt x="39" y="376"/>
                  <a:pt x="39" y="376"/>
                  <a:pt x="39" y="376"/>
                </a:cubicBezTo>
                <a:cubicBezTo>
                  <a:pt x="40" y="376"/>
                  <a:pt x="40" y="376"/>
                  <a:pt x="40" y="376"/>
                </a:cubicBezTo>
                <a:cubicBezTo>
                  <a:pt x="42" y="376"/>
                  <a:pt x="42" y="376"/>
                  <a:pt x="42" y="376"/>
                </a:cubicBezTo>
                <a:cubicBezTo>
                  <a:pt x="43" y="376"/>
                  <a:pt x="43" y="376"/>
                  <a:pt x="43" y="376"/>
                </a:cubicBezTo>
                <a:cubicBezTo>
                  <a:pt x="43" y="376"/>
                  <a:pt x="43" y="376"/>
                  <a:pt x="43" y="376"/>
                </a:cubicBezTo>
                <a:cubicBezTo>
                  <a:pt x="43" y="377"/>
                  <a:pt x="43" y="377"/>
                  <a:pt x="43" y="377"/>
                </a:cubicBezTo>
                <a:cubicBezTo>
                  <a:pt x="43" y="377"/>
                  <a:pt x="42" y="378"/>
                  <a:pt x="42" y="378"/>
                </a:cubicBezTo>
                <a:cubicBezTo>
                  <a:pt x="49" y="378"/>
                  <a:pt x="49" y="378"/>
                  <a:pt x="49" y="378"/>
                </a:cubicBezTo>
                <a:cubicBezTo>
                  <a:pt x="49" y="378"/>
                  <a:pt x="49" y="378"/>
                  <a:pt x="49" y="378"/>
                </a:cubicBezTo>
                <a:cubicBezTo>
                  <a:pt x="49" y="378"/>
                  <a:pt x="49" y="378"/>
                  <a:pt x="49" y="378"/>
                </a:cubicBezTo>
                <a:cubicBezTo>
                  <a:pt x="50" y="377"/>
                  <a:pt x="50" y="377"/>
                  <a:pt x="51" y="377"/>
                </a:cubicBezTo>
                <a:cubicBezTo>
                  <a:pt x="51" y="377"/>
                  <a:pt x="51" y="377"/>
                  <a:pt x="52" y="377"/>
                </a:cubicBezTo>
                <a:cubicBezTo>
                  <a:pt x="52" y="378"/>
                  <a:pt x="52" y="378"/>
                  <a:pt x="52" y="378"/>
                </a:cubicBezTo>
                <a:cubicBezTo>
                  <a:pt x="70" y="378"/>
                  <a:pt x="70" y="378"/>
                  <a:pt x="70" y="378"/>
                </a:cubicBezTo>
                <a:cubicBezTo>
                  <a:pt x="70" y="378"/>
                  <a:pt x="70" y="378"/>
                  <a:pt x="70" y="378"/>
                </a:cubicBezTo>
                <a:cubicBezTo>
                  <a:pt x="70" y="377"/>
                  <a:pt x="70" y="377"/>
                  <a:pt x="70" y="377"/>
                </a:cubicBezTo>
                <a:cubicBezTo>
                  <a:pt x="71" y="376"/>
                  <a:pt x="71" y="376"/>
                  <a:pt x="71" y="376"/>
                </a:cubicBezTo>
                <a:cubicBezTo>
                  <a:pt x="71" y="376"/>
                  <a:pt x="71" y="376"/>
                  <a:pt x="71" y="376"/>
                </a:cubicBezTo>
                <a:cubicBezTo>
                  <a:pt x="71" y="376"/>
                  <a:pt x="71" y="376"/>
                  <a:pt x="72" y="376"/>
                </a:cubicBezTo>
                <a:cubicBezTo>
                  <a:pt x="72" y="376"/>
                  <a:pt x="72" y="376"/>
                  <a:pt x="72" y="376"/>
                </a:cubicBezTo>
                <a:cubicBezTo>
                  <a:pt x="73" y="376"/>
                  <a:pt x="74" y="376"/>
                  <a:pt x="75" y="376"/>
                </a:cubicBezTo>
                <a:cubicBezTo>
                  <a:pt x="75" y="376"/>
                  <a:pt x="76" y="376"/>
                  <a:pt x="77" y="376"/>
                </a:cubicBezTo>
                <a:cubicBezTo>
                  <a:pt x="77" y="376"/>
                  <a:pt x="77" y="376"/>
                  <a:pt x="77" y="376"/>
                </a:cubicBezTo>
                <a:cubicBezTo>
                  <a:pt x="77" y="376"/>
                  <a:pt x="77" y="376"/>
                  <a:pt x="77" y="376"/>
                </a:cubicBezTo>
                <a:cubicBezTo>
                  <a:pt x="77" y="378"/>
                  <a:pt x="77" y="378"/>
                  <a:pt x="77" y="378"/>
                </a:cubicBezTo>
                <a:cubicBezTo>
                  <a:pt x="79" y="378"/>
                  <a:pt x="79" y="378"/>
                  <a:pt x="79" y="378"/>
                </a:cubicBezTo>
                <a:cubicBezTo>
                  <a:pt x="79" y="377"/>
                  <a:pt x="79" y="377"/>
                  <a:pt x="79" y="377"/>
                </a:cubicBezTo>
                <a:cubicBezTo>
                  <a:pt x="79" y="377"/>
                  <a:pt x="79" y="377"/>
                  <a:pt x="79" y="377"/>
                </a:cubicBezTo>
                <a:cubicBezTo>
                  <a:pt x="79" y="377"/>
                  <a:pt x="80" y="377"/>
                  <a:pt x="81" y="377"/>
                </a:cubicBezTo>
                <a:cubicBezTo>
                  <a:pt x="81" y="377"/>
                  <a:pt x="81" y="377"/>
                  <a:pt x="82" y="377"/>
                </a:cubicBezTo>
                <a:cubicBezTo>
                  <a:pt x="82" y="377"/>
                  <a:pt x="83" y="377"/>
                  <a:pt x="83" y="378"/>
                </a:cubicBezTo>
                <a:cubicBezTo>
                  <a:pt x="83" y="378"/>
                  <a:pt x="84" y="378"/>
                  <a:pt x="84" y="378"/>
                </a:cubicBezTo>
                <a:cubicBezTo>
                  <a:pt x="90" y="378"/>
                  <a:pt x="90" y="378"/>
                  <a:pt x="90" y="378"/>
                </a:cubicBezTo>
                <a:cubicBezTo>
                  <a:pt x="90" y="378"/>
                  <a:pt x="90" y="378"/>
                  <a:pt x="90" y="378"/>
                </a:cubicBezTo>
                <a:cubicBezTo>
                  <a:pt x="89" y="377"/>
                  <a:pt x="89" y="377"/>
                  <a:pt x="88" y="377"/>
                </a:cubicBezTo>
                <a:cubicBezTo>
                  <a:pt x="87" y="377"/>
                  <a:pt x="87" y="377"/>
                  <a:pt x="87" y="377"/>
                </a:cubicBezTo>
                <a:cubicBezTo>
                  <a:pt x="88" y="376"/>
                  <a:pt x="88" y="376"/>
                  <a:pt x="88" y="376"/>
                </a:cubicBezTo>
                <a:cubicBezTo>
                  <a:pt x="88" y="375"/>
                  <a:pt x="88" y="375"/>
                  <a:pt x="88" y="375"/>
                </a:cubicBezTo>
                <a:cubicBezTo>
                  <a:pt x="88" y="375"/>
                  <a:pt x="88" y="375"/>
                  <a:pt x="88" y="375"/>
                </a:cubicBezTo>
                <a:cubicBezTo>
                  <a:pt x="88" y="375"/>
                  <a:pt x="88" y="375"/>
                  <a:pt x="88" y="375"/>
                </a:cubicBezTo>
                <a:cubicBezTo>
                  <a:pt x="91" y="375"/>
                  <a:pt x="91" y="375"/>
                  <a:pt x="91" y="375"/>
                </a:cubicBezTo>
                <a:cubicBezTo>
                  <a:pt x="92" y="375"/>
                  <a:pt x="92" y="375"/>
                  <a:pt x="92" y="375"/>
                </a:cubicBezTo>
                <a:cubicBezTo>
                  <a:pt x="94" y="375"/>
                  <a:pt x="94" y="375"/>
                  <a:pt x="94" y="375"/>
                </a:cubicBezTo>
                <a:cubicBezTo>
                  <a:pt x="94" y="375"/>
                  <a:pt x="94" y="375"/>
                  <a:pt x="94" y="375"/>
                </a:cubicBezTo>
                <a:cubicBezTo>
                  <a:pt x="94" y="376"/>
                  <a:pt x="94" y="376"/>
                  <a:pt x="94" y="376"/>
                </a:cubicBezTo>
                <a:cubicBezTo>
                  <a:pt x="94" y="376"/>
                  <a:pt x="94" y="376"/>
                  <a:pt x="94" y="376"/>
                </a:cubicBezTo>
                <a:cubicBezTo>
                  <a:pt x="93" y="377"/>
                  <a:pt x="93" y="377"/>
                  <a:pt x="93" y="377"/>
                </a:cubicBezTo>
                <a:cubicBezTo>
                  <a:pt x="93" y="378"/>
                  <a:pt x="93" y="378"/>
                  <a:pt x="93" y="378"/>
                </a:cubicBezTo>
                <a:cubicBezTo>
                  <a:pt x="95" y="378"/>
                  <a:pt x="95" y="378"/>
                  <a:pt x="95" y="378"/>
                </a:cubicBezTo>
                <a:cubicBezTo>
                  <a:pt x="95" y="378"/>
                  <a:pt x="95" y="378"/>
                  <a:pt x="95" y="378"/>
                </a:cubicBezTo>
                <a:cubicBezTo>
                  <a:pt x="96" y="377"/>
                  <a:pt x="96" y="377"/>
                  <a:pt x="96" y="377"/>
                </a:cubicBezTo>
                <a:cubicBezTo>
                  <a:pt x="96" y="376"/>
                  <a:pt x="96" y="376"/>
                  <a:pt x="96" y="376"/>
                </a:cubicBezTo>
                <a:cubicBezTo>
                  <a:pt x="97" y="375"/>
                  <a:pt x="97" y="375"/>
                  <a:pt x="97" y="375"/>
                </a:cubicBezTo>
                <a:cubicBezTo>
                  <a:pt x="98" y="375"/>
                  <a:pt x="98" y="375"/>
                  <a:pt x="98" y="375"/>
                </a:cubicBezTo>
                <a:cubicBezTo>
                  <a:pt x="99" y="375"/>
                  <a:pt x="99" y="375"/>
                  <a:pt x="99" y="375"/>
                </a:cubicBezTo>
                <a:cubicBezTo>
                  <a:pt x="100" y="375"/>
                  <a:pt x="100" y="375"/>
                  <a:pt x="100" y="375"/>
                </a:cubicBezTo>
                <a:cubicBezTo>
                  <a:pt x="101" y="375"/>
                  <a:pt x="101" y="375"/>
                  <a:pt x="101" y="375"/>
                </a:cubicBezTo>
                <a:cubicBezTo>
                  <a:pt x="103" y="375"/>
                  <a:pt x="103" y="375"/>
                  <a:pt x="103" y="375"/>
                </a:cubicBezTo>
                <a:cubicBezTo>
                  <a:pt x="102" y="376"/>
                  <a:pt x="102" y="376"/>
                  <a:pt x="102" y="376"/>
                </a:cubicBezTo>
                <a:cubicBezTo>
                  <a:pt x="102" y="376"/>
                  <a:pt x="102" y="376"/>
                  <a:pt x="102" y="376"/>
                </a:cubicBezTo>
                <a:cubicBezTo>
                  <a:pt x="101" y="377"/>
                  <a:pt x="101" y="377"/>
                  <a:pt x="101" y="377"/>
                </a:cubicBezTo>
                <a:cubicBezTo>
                  <a:pt x="101" y="378"/>
                  <a:pt x="101" y="378"/>
                  <a:pt x="101" y="378"/>
                </a:cubicBezTo>
                <a:cubicBezTo>
                  <a:pt x="103" y="378"/>
                  <a:pt x="103" y="378"/>
                  <a:pt x="103" y="378"/>
                </a:cubicBezTo>
                <a:cubicBezTo>
                  <a:pt x="103" y="378"/>
                  <a:pt x="103" y="378"/>
                  <a:pt x="103" y="378"/>
                </a:cubicBezTo>
                <a:cubicBezTo>
                  <a:pt x="103" y="377"/>
                  <a:pt x="103" y="377"/>
                  <a:pt x="103" y="377"/>
                </a:cubicBezTo>
                <a:cubicBezTo>
                  <a:pt x="104" y="376"/>
                  <a:pt x="104" y="376"/>
                  <a:pt x="104" y="376"/>
                </a:cubicBezTo>
                <a:cubicBezTo>
                  <a:pt x="105" y="378"/>
                  <a:pt x="105" y="378"/>
                  <a:pt x="105" y="378"/>
                </a:cubicBezTo>
                <a:cubicBezTo>
                  <a:pt x="131" y="378"/>
                  <a:pt x="131" y="378"/>
                  <a:pt x="131" y="378"/>
                </a:cubicBezTo>
                <a:cubicBezTo>
                  <a:pt x="131" y="378"/>
                  <a:pt x="131" y="378"/>
                  <a:pt x="131" y="378"/>
                </a:cubicBezTo>
                <a:cubicBezTo>
                  <a:pt x="131" y="378"/>
                  <a:pt x="131" y="377"/>
                  <a:pt x="131" y="377"/>
                </a:cubicBezTo>
                <a:cubicBezTo>
                  <a:pt x="131" y="377"/>
                  <a:pt x="131" y="377"/>
                  <a:pt x="131" y="377"/>
                </a:cubicBezTo>
                <a:cubicBezTo>
                  <a:pt x="130" y="376"/>
                  <a:pt x="130" y="376"/>
                  <a:pt x="130" y="376"/>
                </a:cubicBezTo>
                <a:cubicBezTo>
                  <a:pt x="129" y="373"/>
                  <a:pt x="129" y="373"/>
                  <a:pt x="129" y="373"/>
                </a:cubicBezTo>
                <a:cubicBezTo>
                  <a:pt x="129" y="373"/>
                  <a:pt x="129" y="373"/>
                  <a:pt x="129" y="373"/>
                </a:cubicBezTo>
                <a:cubicBezTo>
                  <a:pt x="127" y="371"/>
                  <a:pt x="127" y="371"/>
                  <a:pt x="127" y="371"/>
                </a:cubicBezTo>
                <a:cubicBezTo>
                  <a:pt x="124" y="366"/>
                  <a:pt x="124" y="366"/>
                  <a:pt x="124" y="366"/>
                </a:cubicBezTo>
                <a:cubicBezTo>
                  <a:pt x="122" y="363"/>
                  <a:pt x="122" y="363"/>
                  <a:pt x="122" y="363"/>
                </a:cubicBezTo>
                <a:cubicBezTo>
                  <a:pt x="122" y="362"/>
                  <a:pt x="122" y="362"/>
                  <a:pt x="122" y="362"/>
                </a:cubicBezTo>
                <a:cubicBezTo>
                  <a:pt x="122" y="361"/>
                  <a:pt x="122" y="361"/>
                  <a:pt x="122" y="361"/>
                </a:cubicBezTo>
                <a:cubicBezTo>
                  <a:pt x="122" y="359"/>
                  <a:pt x="122" y="359"/>
                  <a:pt x="122" y="359"/>
                </a:cubicBezTo>
                <a:cubicBezTo>
                  <a:pt x="122" y="357"/>
                  <a:pt x="122" y="357"/>
                  <a:pt x="122" y="357"/>
                </a:cubicBezTo>
                <a:cubicBezTo>
                  <a:pt x="122" y="355"/>
                  <a:pt x="122" y="355"/>
                  <a:pt x="122" y="355"/>
                </a:cubicBezTo>
                <a:cubicBezTo>
                  <a:pt x="122" y="354"/>
                  <a:pt x="122" y="354"/>
                  <a:pt x="122" y="354"/>
                </a:cubicBezTo>
                <a:cubicBezTo>
                  <a:pt x="122" y="353"/>
                  <a:pt x="122" y="353"/>
                  <a:pt x="122" y="353"/>
                </a:cubicBezTo>
                <a:cubicBezTo>
                  <a:pt x="122" y="352"/>
                  <a:pt x="122" y="352"/>
                  <a:pt x="122" y="352"/>
                </a:cubicBezTo>
                <a:cubicBezTo>
                  <a:pt x="122" y="352"/>
                  <a:pt x="122" y="352"/>
                  <a:pt x="122" y="352"/>
                </a:cubicBezTo>
                <a:cubicBezTo>
                  <a:pt x="122" y="352"/>
                  <a:pt x="122" y="352"/>
                  <a:pt x="122" y="352"/>
                </a:cubicBezTo>
                <a:cubicBezTo>
                  <a:pt x="122" y="352"/>
                  <a:pt x="122" y="352"/>
                  <a:pt x="122" y="352"/>
                </a:cubicBezTo>
                <a:cubicBezTo>
                  <a:pt x="122" y="349"/>
                  <a:pt x="122" y="349"/>
                  <a:pt x="122" y="349"/>
                </a:cubicBezTo>
                <a:cubicBezTo>
                  <a:pt x="122" y="347"/>
                  <a:pt x="122" y="347"/>
                  <a:pt x="122" y="347"/>
                </a:cubicBezTo>
                <a:cubicBezTo>
                  <a:pt x="122" y="343"/>
                  <a:pt x="122" y="343"/>
                  <a:pt x="122" y="343"/>
                </a:cubicBezTo>
                <a:cubicBezTo>
                  <a:pt x="122" y="342"/>
                  <a:pt x="122" y="342"/>
                  <a:pt x="122" y="342"/>
                </a:cubicBezTo>
                <a:cubicBezTo>
                  <a:pt x="122" y="342"/>
                  <a:pt x="122" y="342"/>
                  <a:pt x="122" y="342"/>
                </a:cubicBezTo>
                <a:cubicBezTo>
                  <a:pt x="122" y="342"/>
                  <a:pt x="122" y="342"/>
                  <a:pt x="122" y="342"/>
                </a:cubicBezTo>
                <a:cubicBezTo>
                  <a:pt x="122" y="341"/>
                  <a:pt x="121" y="341"/>
                  <a:pt x="121" y="341"/>
                </a:cubicBezTo>
                <a:cubicBezTo>
                  <a:pt x="121" y="341"/>
                  <a:pt x="121" y="341"/>
                  <a:pt x="121" y="341"/>
                </a:cubicBezTo>
                <a:cubicBezTo>
                  <a:pt x="120" y="341"/>
                  <a:pt x="120" y="341"/>
                  <a:pt x="120" y="341"/>
                </a:cubicBezTo>
                <a:cubicBezTo>
                  <a:pt x="119" y="341"/>
                  <a:pt x="119" y="341"/>
                  <a:pt x="119" y="341"/>
                </a:cubicBezTo>
                <a:cubicBezTo>
                  <a:pt x="116" y="341"/>
                  <a:pt x="116" y="341"/>
                  <a:pt x="116" y="341"/>
                </a:cubicBezTo>
                <a:cubicBezTo>
                  <a:pt x="115" y="339"/>
                  <a:pt x="114" y="337"/>
                  <a:pt x="113" y="335"/>
                </a:cubicBezTo>
                <a:cubicBezTo>
                  <a:pt x="112" y="334"/>
                  <a:pt x="112" y="333"/>
                  <a:pt x="112" y="333"/>
                </a:cubicBezTo>
                <a:cubicBezTo>
                  <a:pt x="111" y="332"/>
                  <a:pt x="111" y="330"/>
                  <a:pt x="110" y="329"/>
                </a:cubicBezTo>
                <a:cubicBezTo>
                  <a:pt x="109" y="328"/>
                  <a:pt x="109" y="327"/>
                  <a:pt x="108" y="326"/>
                </a:cubicBezTo>
                <a:cubicBezTo>
                  <a:pt x="108" y="325"/>
                  <a:pt x="107" y="323"/>
                  <a:pt x="107" y="322"/>
                </a:cubicBezTo>
                <a:cubicBezTo>
                  <a:pt x="106" y="321"/>
                  <a:pt x="105" y="319"/>
                  <a:pt x="105" y="318"/>
                </a:cubicBezTo>
                <a:cubicBezTo>
                  <a:pt x="104" y="316"/>
                  <a:pt x="104" y="315"/>
                  <a:pt x="103" y="314"/>
                </a:cubicBezTo>
                <a:cubicBezTo>
                  <a:pt x="103" y="313"/>
                  <a:pt x="102" y="312"/>
                  <a:pt x="102" y="311"/>
                </a:cubicBezTo>
                <a:cubicBezTo>
                  <a:pt x="102" y="311"/>
                  <a:pt x="102" y="311"/>
                  <a:pt x="102" y="311"/>
                </a:cubicBezTo>
                <a:cubicBezTo>
                  <a:pt x="102" y="310"/>
                  <a:pt x="102" y="310"/>
                  <a:pt x="102" y="310"/>
                </a:cubicBezTo>
                <a:cubicBezTo>
                  <a:pt x="102" y="310"/>
                  <a:pt x="101" y="309"/>
                  <a:pt x="101" y="309"/>
                </a:cubicBezTo>
                <a:cubicBezTo>
                  <a:pt x="101" y="308"/>
                  <a:pt x="101" y="307"/>
                  <a:pt x="100" y="306"/>
                </a:cubicBezTo>
                <a:cubicBezTo>
                  <a:pt x="99" y="303"/>
                  <a:pt x="98" y="301"/>
                  <a:pt x="98" y="298"/>
                </a:cubicBezTo>
                <a:cubicBezTo>
                  <a:pt x="97" y="295"/>
                  <a:pt x="96" y="292"/>
                  <a:pt x="95" y="289"/>
                </a:cubicBezTo>
                <a:cubicBezTo>
                  <a:pt x="94" y="285"/>
                  <a:pt x="93" y="282"/>
                  <a:pt x="92" y="278"/>
                </a:cubicBezTo>
                <a:cubicBezTo>
                  <a:pt x="92" y="277"/>
                  <a:pt x="92" y="277"/>
                  <a:pt x="92" y="277"/>
                </a:cubicBezTo>
                <a:cubicBezTo>
                  <a:pt x="93" y="275"/>
                  <a:pt x="93" y="275"/>
                  <a:pt x="93" y="275"/>
                </a:cubicBezTo>
                <a:cubicBezTo>
                  <a:pt x="94" y="270"/>
                  <a:pt x="94" y="270"/>
                  <a:pt x="94" y="270"/>
                </a:cubicBezTo>
                <a:cubicBezTo>
                  <a:pt x="95" y="266"/>
                  <a:pt x="95" y="266"/>
                  <a:pt x="95" y="266"/>
                </a:cubicBezTo>
                <a:cubicBezTo>
                  <a:pt x="96" y="265"/>
                  <a:pt x="96" y="265"/>
                  <a:pt x="96" y="265"/>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3"/>
                  <a:pt x="96" y="263"/>
                  <a:pt x="96" y="263"/>
                </a:cubicBezTo>
                <a:cubicBezTo>
                  <a:pt x="96" y="261"/>
                  <a:pt x="96" y="261"/>
                  <a:pt x="96" y="261"/>
                </a:cubicBezTo>
                <a:cubicBezTo>
                  <a:pt x="96" y="261"/>
                  <a:pt x="96" y="261"/>
                  <a:pt x="96" y="261"/>
                </a:cubicBezTo>
                <a:cubicBezTo>
                  <a:pt x="96" y="260"/>
                  <a:pt x="96" y="260"/>
                  <a:pt x="95" y="260"/>
                </a:cubicBezTo>
                <a:cubicBezTo>
                  <a:pt x="95" y="260"/>
                  <a:pt x="95" y="260"/>
                  <a:pt x="95" y="260"/>
                </a:cubicBezTo>
                <a:cubicBezTo>
                  <a:pt x="90" y="260"/>
                  <a:pt x="90" y="260"/>
                  <a:pt x="90" y="260"/>
                </a:cubicBezTo>
                <a:cubicBezTo>
                  <a:pt x="88" y="260"/>
                  <a:pt x="88" y="260"/>
                  <a:pt x="88" y="260"/>
                </a:cubicBezTo>
                <a:cubicBezTo>
                  <a:pt x="88" y="258"/>
                  <a:pt x="88" y="258"/>
                  <a:pt x="88" y="258"/>
                </a:cubicBezTo>
                <a:cubicBezTo>
                  <a:pt x="88" y="255"/>
                  <a:pt x="87" y="252"/>
                  <a:pt x="86" y="248"/>
                </a:cubicBezTo>
                <a:cubicBezTo>
                  <a:pt x="86" y="248"/>
                  <a:pt x="86" y="248"/>
                  <a:pt x="86" y="248"/>
                </a:cubicBezTo>
                <a:cubicBezTo>
                  <a:pt x="86" y="248"/>
                  <a:pt x="86" y="248"/>
                  <a:pt x="86" y="248"/>
                </a:cubicBezTo>
                <a:cubicBezTo>
                  <a:pt x="86" y="248"/>
                  <a:pt x="86" y="248"/>
                  <a:pt x="86" y="248"/>
                </a:cubicBezTo>
                <a:cubicBezTo>
                  <a:pt x="86" y="247"/>
                  <a:pt x="86" y="247"/>
                  <a:pt x="86" y="247"/>
                </a:cubicBezTo>
                <a:cubicBezTo>
                  <a:pt x="86" y="245"/>
                  <a:pt x="86" y="243"/>
                  <a:pt x="85" y="241"/>
                </a:cubicBezTo>
                <a:cubicBezTo>
                  <a:pt x="85" y="239"/>
                  <a:pt x="85" y="238"/>
                  <a:pt x="85" y="237"/>
                </a:cubicBezTo>
                <a:cubicBezTo>
                  <a:pt x="84" y="235"/>
                  <a:pt x="84" y="233"/>
                  <a:pt x="84" y="232"/>
                </a:cubicBezTo>
                <a:cubicBezTo>
                  <a:pt x="84" y="232"/>
                  <a:pt x="84" y="232"/>
                  <a:pt x="84" y="232"/>
                </a:cubicBezTo>
                <a:cubicBezTo>
                  <a:pt x="84" y="232"/>
                  <a:pt x="84" y="232"/>
                  <a:pt x="84" y="232"/>
                </a:cubicBezTo>
                <a:cubicBezTo>
                  <a:pt x="84" y="232"/>
                  <a:pt x="84" y="232"/>
                  <a:pt x="84" y="232"/>
                </a:cubicBezTo>
                <a:cubicBezTo>
                  <a:pt x="84" y="232"/>
                  <a:pt x="84" y="232"/>
                  <a:pt x="84" y="232"/>
                </a:cubicBezTo>
                <a:cubicBezTo>
                  <a:pt x="84" y="232"/>
                  <a:pt x="84" y="232"/>
                  <a:pt x="84" y="232"/>
                </a:cubicBezTo>
                <a:cubicBezTo>
                  <a:pt x="84" y="231"/>
                  <a:pt x="84" y="231"/>
                  <a:pt x="84" y="231"/>
                </a:cubicBezTo>
                <a:cubicBezTo>
                  <a:pt x="84" y="231"/>
                  <a:pt x="84" y="231"/>
                  <a:pt x="84" y="231"/>
                </a:cubicBezTo>
                <a:cubicBezTo>
                  <a:pt x="83" y="229"/>
                  <a:pt x="83" y="227"/>
                  <a:pt x="83" y="224"/>
                </a:cubicBezTo>
                <a:cubicBezTo>
                  <a:pt x="83" y="223"/>
                  <a:pt x="83" y="222"/>
                  <a:pt x="82" y="221"/>
                </a:cubicBezTo>
                <a:cubicBezTo>
                  <a:pt x="82" y="220"/>
                  <a:pt x="82" y="219"/>
                  <a:pt x="82" y="218"/>
                </a:cubicBezTo>
                <a:cubicBezTo>
                  <a:pt x="82" y="216"/>
                  <a:pt x="82" y="216"/>
                  <a:pt x="82" y="216"/>
                </a:cubicBezTo>
                <a:cubicBezTo>
                  <a:pt x="82" y="216"/>
                  <a:pt x="82" y="216"/>
                  <a:pt x="82" y="216"/>
                </a:cubicBezTo>
                <a:cubicBezTo>
                  <a:pt x="82" y="216"/>
                  <a:pt x="82" y="216"/>
                  <a:pt x="82" y="216"/>
                </a:cubicBezTo>
                <a:cubicBezTo>
                  <a:pt x="82" y="216"/>
                  <a:pt x="82" y="216"/>
                  <a:pt x="82" y="216"/>
                </a:cubicBezTo>
                <a:cubicBezTo>
                  <a:pt x="82" y="215"/>
                  <a:pt x="81" y="213"/>
                  <a:pt x="81" y="211"/>
                </a:cubicBezTo>
                <a:cubicBezTo>
                  <a:pt x="81" y="210"/>
                  <a:pt x="81" y="208"/>
                  <a:pt x="81" y="207"/>
                </a:cubicBezTo>
                <a:cubicBezTo>
                  <a:pt x="80" y="204"/>
                  <a:pt x="80" y="204"/>
                  <a:pt x="80" y="204"/>
                </a:cubicBezTo>
                <a:cubicBezTo>
                  <a:pt x="80" y="202"/>
                  <a:pt x="80" y="202"/>
                  <a:pt x="80" y="202"/>
                </a:cubicBezTo>
                <a:cubicBezTo>
                  <a:pt x="80" y="202"/>
                  <a:pt x="80" y="202"/>
                  <a:pt x="80" y="202"/>
                </a:cubicBezTo>
                <a:cubicBezTo>
                  <a:pt x="80" y="202"/>
                  <a:pt x="80" y="202"/>
                  <a:pt x="80" y="202"/>
                </a:cubicBezTo>
                <a:cubicBezTo>
                  <a:pt x="80" y="199"/>
                  <a:pt x="80" y="199"/>
                  <a:pt x="80" y="199"/>
                </a:cubicBezTo>
                <a:cubicBezTo>
                  <a:pt x="80" y="197"/>
                  <a:pt x="80" y="197"/>
                  <a:pt x="80" y="197"/>
                </a:cubicBezTo>
                <a:cubicBezTo>
                  <a:pt x="79" y="194"/>
                  <a:pt x="79" y="194"/>
                  <a:pt x="79" y="194"/>
                </a:cubicBezTo>
                <a:cubicBezTo>
                  <a:pt x="79" y="192"/>
                  <a:pt x="79" y="192"/>
                  <a:pt x="79" y="192"/>
                </a:cubicBezTo>
                <a:cubicBezTo>
                  <a:pt x="79" y="191"/>
                  <a:pt x="79" y="191"/>
                  <a:pt x="79" y="191"/>
                </a:cubicBezTo>
                <a:cubicBezTo>
                  <a:pt x="79" y="191"/>
                  <a:pt x="79" y="191"/>
                  <a:pt x="79" y="191"/>
                </a:cubicBezTo>
                <a:cubicBezTo>
                  <a:pt x="79" y="191"/>
                  <a:pt x="79" y="190"/>
                  <a:pt x="79" y="190"/>
                </a:cubicBezTo>
                <a:cubicBezTo>
                  <a:pt x="79" y="187"/>
                  <a:pt x="79" y="187"/>
                  <a:pt x="79" y="187"/>
                </a:cubicBezTo>
                <a:cubicBezTo>
                  <a:pt x="78" y="184"/>
                  <a:pt x="78" y="184"/>
                  <a:pt x="78" y="184"/>
                </a:cubicBezTo>
                <a:cubicBezTo>
                  <a:pt x="78" y="182"/>
                  <a:pt x="78" y="182"/>
                  <a:pt x="78" y="182"/>
                </a:cubicBezTo>
                <a:cubicBezTo>
                  <a:pt x="78" y="181"/>
                  <a:pt x="78" y="181"/>
                  <a:pt x="78" y="181"/>
                </a:cubicBezTo>
                <a:cubicBezTo>
                  <a:pt x="78" y="181"/>
                  <a:pt x="78" y="181"/>
                  <a:pt x="78" y="181"/>
                </a:cubicBezTo>
                <a:cubicBezTo>
                  <a:pt x="78" y="180"/>
                  <a:pt x="78" y="180"/>
                  <a:pt x="78" y="180"/>
                </a:cubicBezTo>
                <a:cubicBezTo>
                  <a:pt x="78" y="180"/>
                  <a:pt x="78" y="180"/>
                  <a:pt x="78" y="180"/>
                </a:cubicBezTo>
                <a:cubicBezTo>
                  <a:pt x="78" y="179"/>
                  <a:pt x="78" y="179"/>
                  <a:pt x="78" y="179"/>
                </a:cubicBezTo>
                <a:cubicBezTo>
                  <a:pt x="77" y="175"/>
                  <a:pt x="77" y="175"/>
                  <a:pt x="77" y="175"/>
                </a:cubicBezTo>
                <a:cubicBezTo>
                  <a:pt x="77" y="171"/>
                  <a:pt x="77" y="171"/>
                  <a:pt x="77" y="171"/>
                </a:cubicBezTo>
                <a:cubicBezTo>
                  <a:pt x="77" y="169"/>
                  <a:pt x="77" y="169"/>
                  <a:pt x="77" y="169"/>
                </a:cubicBezTo>
                <a:cubicBezTo>
                  <a:pt x="77" y="169"/>
                  <a:pt x="77" y="169"/>
                  <a:pt x="77" y="169"/>
                </a:cubicBezTo>
                <a:cubicBezTo>
                  <a:pt x="77" y="169"/>
                  <a:pt x="77" y="169"/>
                  <a:pt x="77" y="169"/>
                </a:cubicBezTo>
                <a:cubicBezTo>
                  <a:pt x="76" y="165"/>
                  <a:pt x="76" y="165"/>
                  <a:pt x="76" y="165"/>
                </a:cubicBezTo>
                <a:cubicBezTo>
                  <a:pt x="76" y="163"/>
                  <a:pt x="76" y="163"/>
                  <a:pt x="76" y="163"/>
                </a:cubicBezTo>
                <a:cubicBezTo>
                  <a:pt x="76" y="162"/>
                  <a:pt x="76" y="162"/>
                  <a:pt x="76" y="162"/>
                </a:cubicBezTo>
                <a:cubicBezTo>
                  <a:pt x="76" y="161"/>
                  <a:pt x="76" y="161"/>
                  <a:pt x="76" y="161"/>
                </a:cubicBezTo>
                <a:cubicBezTo>
                  <a:pt x="76" y="159"/>
                  <a:pt x="76" y="159"/>
                  <a:pt x="76" y="159"/>
                </a:cubicBezTo>
                <a:cubicBezTo>
                  <a:pt x="76" y="157"/>
                  <a:pt x="76" y="157"/>
                  <a:pt x="76" y="157"/>
                </a:cubicBezTo>
                <a:cubicBezTo>
                  <a:pt x="76" y="157"/>
                  <a:pt x="76" y="157"/>
                  <a:pt x="76" y="157"/>
                </a:cubicBezTo>
                <a:cubicBezTo>
                  <a:pt x="76" y="157"/>
                  <a:pt x="76" y="157"/>
                  <a:pt x="76" y="157"/>
                </a:cubicBezTo>
                <a:cubicBezTo>
                  <a:pt x="76" y="157"/>
                  <a:pt x="76" y="157"/>
                  <a:pt x="76" y="157"/>
                </a:cubicBezTo>
                <a:cubicBezTo>
                  <a:pt x="76" y="157"/>
                  <a:pt x="76" y="157"/>
                  <a:pt x="76" y="157"/>
                </a:cubicBezTo>
                <a:cubicBezTo>
                  <a:pt x="76" y="155"/>
                  <a:pt x="76" y="155"/>
                  <a:pt x="76" y="155"/>
                </a:cubicBezTo>
                <a:cubicBezTo>
                  <a:pt x="75" y="153"/>
                  <a:pt x="75" y="153"/>
                  <a:pt x="75" y="153"/>
                </a:cubicBezTo>
                <a:cubicBezTo>
                  <a:pt x="75" y="151"/>
                  <a:pt x="75" y="151"/>
                  <a:pt x="75" y="151"/>
                </a:cubicBezTo>
                <a:cubicBezTo>
                  <a:pt x="75" y="149"/>
                  <a:pt x="75" y="149"/>
                  <a:pt x="75" y="149"/>
                </a:cubicBezTo>
                <a:cubicBezTo>
                  <a:pt x="75" y="149"/>
                  <a:pt x="75" y="149"/>
                  <a:pt x="75" y="149"/>
                </a:cubicBezTo>
                <a:cubicBezTo>
                  <a:pt x="75" y="148"/>
                  <a:pt x="75" y="148"/>
                  <a:pt x="75" y="148"/>
                </a:cubicBezTo>
                <a:cubicBezTo>
                  <a:pt x="75" y="148"/>
                  <a:pt x="75" y="148"/>
                  <a:pt x="75" y="148"/>
                </a:cubicBezTo>
                <a:cubicBezTo>
                  <a:pt x="75" y="148"/>
                  <a:pt x="75" y="148"/>
                  <a:pt x="75" y="148"/>
                </a:cubicBezTo>
                <a:cubicBezTo>
                  <a:pt x="75" y="148"/>
                  <a:pt x="75" y="148"/>
                  <a:pt x="75" y="148"/>
                </a:cubicBezTo>
                <a:cubicBezTo>
                  <a:pt x="75" y="146"/>
                  <a:pt x="75" y="146"/>
                  <a:pt x="75" y="146"/>
                </a:cubicBezTo>
                <a:cubicBezTo>
                  <a:pt x="75" y="144"/>
                  <a:pt x="75" y="144"/>
                  <a:pt x="75" y="144"/>
                </a:cubicBezTo>
                <a:cubicBezTo>
                  <a:pt x="75" y="142"/>
                  <a:pt x="75" y="142"/>
                  <a:pt x="75" y="142"/>
                </a:cubicBezTo>
                <a:cubicBezTo>
                  <a:pt x="74" y="140"/>
                  <a:pt x="74" y="140"/>
                  <a:pt x="74" y="140"/>
                </a:cubicBezTo>
                <a:cubicBezTo>
                  <a:pt x="74" y="140"/>
                  <a:pt x="74" y="140"/>
                  <a:pt x="74" y="140"/>
                </a:cubicBezTo>
                <a:cubicBezTo>
                  <a:pt x="74" y="140"/>
                  <a:pt x="74" y="140"/>
                  <a:pt x="74" y="140"/>
                </a:cubicBezTo>
                <a:cubicBezTo>
                  <a:pt x="74" y="140"/>
                  <a:pt x="74" y="140"/>
                  <a:pt x="74" y="140"/>
                </a:cubicBezTo>
                <a:cubicBezTo>
                  <a:pt x="74" y="136"/>
                  <a:pt x="74" y="136"/>
                  <a:pt x="74" y="136"/>
                </a:cubicBezTo>
                <a:cubicBezTo>
                  <a:pt x="74" y="134"/>
                  <a:pt x="74" y="134"/>
                  <a:pt x="74" y="134"/>
                </a:cubicBezTo>
                <a:cubicBezTo>
                  <a:pt x="74" y="132"/>
                  <a:pt x="74" y="132"/>
                  <a:pt x="74" y="132"/>
                </a:cubicBezTo>
                <a:cubicBezTo>
                  <a:pt x="74" y="132"/>
                  <a:pt x="74" y="132"/>
                  <a:pt x="74" y="132"/>
                </a:cubicBezTo>
                <a:cubicBezTo>
                  <a:pt x="74" y="132"/>
                  <a:pt x="74" y="132"/>
                  <a:pt x="74" y="132"/>
                </a:cubicBezTo>
                <a:cubicBezTo>
                  <a:pt x="74" y="132"/>
                  <a:pt x="74" y="131"/>
                  <a:pt x="74" y="131"/>
                </a:cubicBezTo>
                <a:cubicBezTo>
                  <a:pt x="74" y="131"/>
                  <a:pt x="74" y="131"/>
                  <a:pt x="74" y="131"/>
                </a:cubicBezTo>
                <a:cubicBezTo>
                  <a:pt x="74" y="130"/>
                  <a:pt x="74" y="130"/>
                  <a:pt x="74" y="130"/>
                </a:cubicBezTo>
                <a:cubicBezTo>
                  <a:pt x="73" y="129"/>
                  <a:pt x="73" y="129"/>
                  <a:pt x="73" y="129"/>
                </a:cubicBezTo>
                <a:cubicBezTo>
                  <a:pt x="73" y="128"/>
                  <a:pt x="73" y="128"/>
                  <a:pt x="73" y="128"/>
                </a:cubicBezTo>
                <a:cubicBezTo>
                  <a:pt x="73" y="125"/>
                  <a:pt x="73" y="125"/>
                  <a:pt x="73" y="125"/>
                </a:cubicBezTo>
                <a:cubicBezTo>
                  <a:pt x="73" y="123"/>
                  <a:pt x="73" y="123"/>
                  <a:pt x="73" y="123"/>
                </a:cubicBezTo>
                <a:cubicBezTo>
                  <a:pt x="73" y="121"/>
                  <a:pt x="73" y="121"/>
                  <a:pt x="73" y="121"/>
                </a:cubicBezTo>
                <a:cubicBezTo>
                  <a:pt x="73" y="121"/>
                  <a:pt x="73" y="121"/>
                  <a:pt x="73" y="121"/>
                </a:cubicBezTo>
                <a:cubicBezTo>
                  <a:pt x="73" y="121"/>
                  <a:pt x="73" y="121"/>
                  <a:pt x="73" y="121"/>
                </a:cubicBezTo>
                <a:cubicBezTo>
                  <a:pt x="73" y="121"/>
                  <a:pt x="73" y="121"/>
                  <a:pt x="73" y="120"/>
                </a:cubicBezTo>
                <a:cubicBezTo>
                  <a:pt x="73" y="120"/>
                  <a:pt x="73" y="120"/>
                  <a:pt x="73" y="120"/>
                </a:cubicBezTo>
                <a:cubicBezTo>
                  <a:pt x="73" y="119"/>
                  <a:pt x="73" y="119"/>
                  <a:pt x="73" y="119"/>
                </a:cubicBezTo>
                <a:cubicBezTo>
                  <a:pt x="73" y="118"/>
                  <a:pt x="73" y="118"/>
                  <a:pt x="73" y="118"/>
                </a:cubicBezTo>
                <a:cubicBezTo>
                  <a:pt x="73" y="117"/>
                  <a:pt x="73" y="117"/>
                  <a:pt x="73" y="117"/>
                </a:cubicBezTo>
                <a:cubicBezTo>
                  <a:pt x="72" y="114"/>
                  <a:pt x="72" y="114"/>
                  <a:pt x="72" y="114"/>
                </a:cubicBezTo>
                <a:cubicBezTo>
                  <a:pt x="72" y="112"/>
                  <a:pt x="72" y="112"/>
                  <a:pt x="72" y="112"/>
                </a:cubicBezTo>
                <a:cubicBezTo>
                  <a:pt x="72" y="111"/>
                  <a:pt x="72" y="111"/>
                  <a:pt x="72" y="111"/>
                </a:cubicBezTo>
                <a:cubicBezTo>
                  <a:pt x="72" y="110"/>
                  <a:pt x="72" y="110"/>
                  <a:pt x="72" y="110"/>
                </a:cubicBezTo>
                <a:cubicBezTo>
                  <a:pt x="72" y="110"/>
                  <a:pt x="72" y="110"/>
                  <a:pt x="72" y="110"/>
                </a:cubicBezTo>
                <a:cubicBezTo>
                  <a:pt x="72" y="110"/>
                  <a:pt x="72" y="110"/>
                  <a:pt x="72" y="110"/>
                </a:cubicBezTo>
                <a:cubicBezTo>
                  <a:pt x="72" y="110"/>
                  <a:pt x="72" y="110"/>
                  <a:pt x="72" y="110"/>
                </a:cubicBezTo>
                <a:cubicBezTo>
                  <a:pt x="72" y="109"/>
                  <a:pt x="72" y="109"/>
                  <a:pt x="72" y="109"/>
                </a:cubicBezTo>
                <a:cubicBezTo>
                  <a:pt x="72" y="108"/>
                  <a:pt x="72" y="108"/>
                  <a:pt x="72" y="108"/>
                </a:cubicBezTo>
                <a:cubicBezTo>
                  <a:pt x="72" y="107"/>
                  <a:pt x="72" y="107"/>
                  <a:pt x="72" y="107"/>
                </a:cubicBezTo>
                <a:cubicBezTo>
                  <a:pt x="72" y="106"/>
                  <a:pt x="72" y="106"/>
                  <a:pt x="72" y="106"/>
                </a:cubicBezTo>
                <a:cubicBezTo>
                  <a:pt x="72" y="105"/>
                  <a:pt x="72" y="105"/>
                  <a:pt x="72" y="105"/>
                </a:cubicBezTo>
                <a:cubicBezTo>
                  <a:pt x="72" y="104"/>
                  <a:pt x="72" y="104"/>
                  <a:pt x="72" y="104"/>
                </a:cubicBezTo>
                <a:cubicBezTo>
                  <a:pt x="72" y="103"/>
                  <a:pt x="72" y="103"/>
                  <a:pt x="72" y="103"/>
                </a:cubicBezTo>
                <a:cubicBezTo>
                  <a:pt x="71" y="100"/>
                  <a:pt x="71" y="100"/>
                  <a:pt x="71" y="100"/>
                </a:cubicBezTo>
                <a:cubicBezTo>
                  <a:pt x="71" y="100"/>
                  <a:pt x="71" y="100"/>
                  <a:pt x="71" y="100"/>
                </a:cubicBezTo>
                <a:cubicBezTo>
                  <a:pt x="71" y="99"/>
                  <a:pt x="71" y="99"/>
                  <a:pt x="71" y="99"/>
                </a:cubicBezTo>
                <a:cubicBezTo>
                  <a:pt x="71" y="97"/>
                  <a:pt x="71" y="97"/>
                  <a:pt x="71" y="97"/>
                </a:cubicBezTo>
                <a:cubicBezTo>
                  <a:pt x="71" y="95"/>
                  <a:pt x="71" y="95"/>
                  <a:pt x="71" y="95"/>
                </a:cubicBezTo>
                <a:cubicBezTo>
                  <a:pt x="71" y="95"/>
                  <a:pt x="71" y="95"/>
                  <a:pt x="71" y="95"/>
                </a:cubicBezTo>
                <a:cubicBezTo>
                  <a:pt x="71" y="94"/>
                  <a:pt x="71" y="94"/>
                  <a:pt x="71" y="94"/>
                </a:cubicBezTo>
                <a:cubicBezTo>
                  <a:pt x="71" y="93"/>
                  <a:pt x="71" y="93"/>
                  <a:pt x="71" y="93"/>
                </a:cubicBezTo>
                <a:cubicBezTo>
                  <a:pt x="71" y="92"/>
                  <a:pt x="71" y="92"/>
                  <a:pt x="71" y="92"/>
                </a:cubicBezTo>
                <a:cubicBezTo>
                  <a:pt x="71" y="91"/>
                  <a:pt x="71" y="91"/>
                  <a:pt x="71" y="91"/>
                </a:cubicBezTo>
                <a:cubicBezTo>
                  <a:pt x="71" y="91"/>
                  <a:pt x="71" y="91"/>
                  <a:pt x="71" y="91"/>
                </a:cubicBezTo>
                <a:cubicBezTo>
                  <a:pt x="71" y="91"/>
                  <a:pt x="71" y="91"/>
                  <a:pt x="71" y="91"/>
                </a:cubicBezTo>
                <a:cubicBezTo>
                  <a:pt x="70" y="88"/>
                  <a:pt x="70" y="88"/>
                  <a:pt x="70" y="88"/>
                </a:cubicBezTo>
                <a:cubicBezTo>
                  <a:pt x="70" y="87"/>
                  <a:pt x="70" y="87"/>
                  <a:pt x="70" y="87"/>
                </a:cubicBezTo>
                <a:cubicBezTo>
                  <a:pt x="70" y="86"/>
                  <a:pt x="70" y="86"/>
                  <a:pt x="70" y="86"/>
                </a:cubicBezTo>
                <a:cubicBezTo>
                  <a:pt x="70" y="85"/>
                  <a:pt x="70" y="85"/>
                  <a:pt x="70" y="85"/>
                </a:cubicBezTo>
                <a:cubicBezTo>
                  <a:pt x="70" y="85"/>
                  <a:pt x="70" y="85"/>
                  <a:pt x="70" y="85"/>
                </a:cubicBezTo>
                <a:cubicBezTo>
                  <a:pt x="70" y="84"/>
                  <a:pt x="70" y="84"/>
                  <a:pt x="70" y="84"/>
                </a:cubicBezTo>
                <a:cubicBezTo>
                  <a:pt x="70" y="83"/>
                  <a:pt x="70" y="83"/>
                  <a:pt x="70" y="83"/>
                </a:cubicBezTo>
                <a:cubicBezTo>
                  <a:pt x="70" y="83"/>
                  <a:pt x="70" y="83"/>
                  <a:pt x="70" y="83"/>
                </a:cubicBezTo>
                <a:cubicBezTo>
                  <a:pt x="70" y="81"/>
                  <a:pt x="70" y="81"/>
                  <a:pt x="70" y="81"/>
                </a:cubicBezTo>
                <a:cubicBezTo>
                  <a:pt x="70" y="81"/>
                  <a:pt x="70" y="81"/>
                  <a:pt x="70" y="81"/>
                </a:cubicBezTo>
                <a:cubicBezTo>
                  <a:pt x="70" y="81"/>
                  <a:pt x="70" y="81"/>
                  <a:pt x="70" y="81"/>
                </a:cubicBezTo>
                <a:cubicBezTo>
                  <a:pt x="70" y="81"/>
                  <a:pt x="70" y="81"/>
                  <a:pt x="70" y="81"/>
                </a:cubicBezTo>
                <a:cubicBezTo>
                  <a:pt x="70" y="79"/>
                  <a:pt x="70" y="79"/>
                  <a:pt x="70" y="79"/>
                </a:cubicBezTo>
                <a:cubicBezTo>
                  <a:pt x="70" y="78"/>
                  <a:pt x="70" y="78"/>
                  <a:pt x="70" y="78"/>
                </a:cubicBezTo>
                <a:cubicBezTo>
                  <a:pt x="70" y="77"/>
                  <a:pt x="70" y="77"/>
                  <a:pt x="70" y="77"/>
                </a:cubicBezTo>
                <a:cubicBezTo>
                  <a:pt x="70" y="75"/>
                  <a:pt x="70" y="75"/>
                  <a:pt x="70" y="75"/>
                </a:cubicBezTo>
                <a:cubicBezTo>
                  <a:pt x="70" y="75"/>
                  <a:pt x="70" y="75"/>
                  <a:pt x="70" y="75"/>
                </a:cubicBezTo>
                <a:cubicBezTo>
                  <a:pt x="70" y="74"/>
                  <a:pt x="70" y="74"/>
                  <a:pt x="70" y="74"/>
                </a:cubicBezTo>
                <a:cubicBezTo>
                  <a:pt x="69" y="71"/>
                  <a:pt x="69" y="71"/>
                  <a:pt x="69" y="71"/>
                </a:cubicBezTo>
                <a:cubicBezTo>
                  <a:pt x="69" y="71"/>
                  <a:pt x="69" y="71"/>
                  <a:pt x="69" y="71"/>
                </a:cubicBezTo>
                <a:cubicBezTo>
                  <a:pt x="69" y="71"/>
                  <a:pt x="69" y="71"/>
                  <a:pt x="69" y="71"/>
                </a:cubicBezTo>
                <a:cubicBezTo>
                  <a:pt x="69" y="71"/>
                  <a:pt x="69" y="71"/>
                  <a:pt x="69" y="71"/>
                </a:cubicBezTo>
                <a:cubicBezTo>
                  <a:pt x="69" y="71"/>
                  <a:pt x="69" y="71"/>
                  <a:pt x="69" y="71"/>
                </a:cubicBezTo>
                <a:cubicBezTo>
                  <a:pt x="69" y="71"/>
                  <a:pt x="69" y="71"/>
                  <a:pt x="69" y="71"/>
                </a:cubicBezTo>
                <a:cubicBezTo>
                  <a:pt x="69" y="71"/>
                  <a:pt x="69" y="71"/>
                  <a:pt x="69" y="71"/>
                </a:cubicBezTo>
                <a:cubicBezTo>
                  <a:pt x="69" y="69"/>
                  <a:pt x="69" y="69"/>
                  <a:pt x="69" y="69"/>
                </a:cubicBezTo>
                <a:cubicBezTo>
                  <a:pt x="69" y="68"/>
                  <a:pt x="69" y="68"/>
                  <a:pt x="69" y="68"/>
                </a:cubicBezTo>
                <a:cubicBezTo>
                  <a:pt x="69" y="68"/>
                  <a:pt x="69" y="68"/>
                  <a:pt x="69" y="68"/>
                </a:cubicBezTo>
                <a:cubicBezTo>
                  <a:pt x="69" y="66"/>
                  <a:pt x="69" y="66"/>
                  <a:pt x="69" y="66"/>
                </a:cubicBezTo>
                <a:cubicBezTo>
                  <a:pt x="69" y="64"/>
                  <a:pt x="69" y="64"/>
                  <a:pt x="69" y="64"/>
                </a:cubicBezTo>
                <a:cubicBezTo>
                  <a:pt x="69" y="64"/>
                  <a:pt x="69" y="64"/>
                  <a:pt x="69" y="64"/>
                </a:cubicBezTo>
                <a:cubicBezTo>
                  <a:pt x="69" y="64"/>
                  <a:pt x="69" y="64"/>
                  <a:pt x="69" y="64"/>
                </a:cubicBezTo>
                <a:cubicBezTo>
                  <a:pt x="69" y="64"/>
                  <a:pt x="69" y="64"/>
                  <a:pt x="69" y="64"/>
                </a:cubicBezTo>
                <a:cubicBezTo>
                  <a:pt x="69" y="64"/>
                  <a:pt x="69" y="64"/>
                  <a:pt x="69" y="64"/>
                </a:cubicBezTo>
                <a:cubicBezTo>
                  <a:pt x="69" y="61"/>
                  <a:pt x="69" y="61"/>
                  <a:pt x="69" y="61"/>
                </a:cubicBezTo>
                <a:cubicBezTo>
                  <a:pt x="69" y="59"/>
                  <a:pt x="69" y="59"/>
                  <a:pt x="69" y="59"/>
                </a:cubicBezTo>
                <a:cubicBezTo>
                  <a:pt x="68" y="57"/>
                  <a:pt x="68" y="57"/>
                  <a:pt x="68" y="57"/>
                </a:cubicBezTo>
                <a:cubicBezTo>
                  <a:pt x="68" y="55"/>
                  <a:pt x="68" y="55"/>
                  <a:pt x="68" y="55"/>
                </a:cubicBezTo>
                <a:cubicBezTo>
                  <a:pt x="68" y="54"/>
                  <a:pt x="68" y="54"/>
                  <a:pt x="68" y="54"/>
                </a:cubicBezTo>
                <a:cubicBezTo>
                  <a:pt x="69" y="53"/>
                  <a:pt x="69" y="53"/>
                  <a:pt x="69" y="53"/>
                </a:cubicBezTo>
                <a:cubicBezTo>
                  <a:pt x="69" y="53"/>
                  <a:pt x="69" y="53"/>
                  <a:pt x="69" y="53"/>
                </a:cubicBezTo>
                <a:cubicBezTo>
                  <a:pt x="69" y="52"/>
                  <a:pt x="70" y="52"/>
                  <a:pt x="70" y="52"/>
                </a:cubicBezTo>
                <a:cubicBezTo>
                  <a:pt x="70" y="51"/>
                  <a:pt x="71" y="51"/>
                  <a:pt x="71" y="51"/>
                </a:cubicBezTo>
                <a:cubicBezTo>
                  <a:pt x="71" y="50"/>
                  <a:pt x="72" y="50"/>
                  <a:pt x="72" y="49"/>
                </a:cubicBezTo>
                <a:cubicBezTo>
                  <a:pt x="73" y="48"/>
                  <a:pt x="73" y="46"/>
                  <a:pt x="73" y="44"/>
                </a:cubicBezTo>
                <a:cubicBezTo>
                  <a:pt x="73" y="44"/>
                  <a:pt x="73" y="44"/>
                  <a:pt x="73" y="44"/>
                </a:cubicBezTo>
                <a:cubicBezTo>
                  <a:pt x="73" y="42"/>
                  <a:pt x="73" y="42"/>
                  <a:pt x="73" y="42"/>
                </a:cubicBezTo>
                <a:cubicBezTo>
                  <a:pt x="73" y="41"/>
                  <a:pt x="73" y="41"/>
                  <a:pt x="73" y="41"/>
                </a:cubicBezTo>
                <a:cubicBezTo>
                  <a:pt x="73" y="41"/>
                  <a:pt x="73" y="41"/>
                  <a:pt x="73" y="41"/>
                </a:cubicBezTo>
                <a:cubicBezTo>
                  <a:pt x="73" y="41"/>
                  <a:pt x="73" y="41"/>
                  <a:pt x="73" y="41"/>
                </a:cubicBezTo>
                <a:cubicBezTo>
                  <a:pt x="73" y="40"/>
                  <a:pt x="73" y="40"/>
                  <a:pt x="73" y="40"/>
                </a:cubicBezTo>
                <a:cubicBezTo>
                  <a:pt x="73" y="39"/>
                  <a:pt x="72" y="38"/>
                  <a:pt x="70" y="37"/>
                </a:cubicBezTo>
                <a:cubicBezTo>
                  <a:pt x="70" y="31"/>
                  <a:pt x="70" y="31"/>
                  <a:pt x="70" y="31"/>
                </a:cubicBezTo>
                <a:cubicBezTo>
                  <a:pt x="73" y="31"/>
                  <a:pt x="73" y="31"/>
                  <a:pt x="73" y="31"/>
                </a:cubicBezTo>
                <a:cubicBezTo>
                  <a:pt x="73" y="31"/>
                  <a:pt x="74" y="31"/>
                  <a:pt x="74" y="30"/>
                </a:cubicBezTo>
                <a:cubicBezTo>
                  <a:pt x="74" y="30"/>
                  <a:pt x="74" y="30"/>
                  <a:pt x="74" y="30"/>
                </a:cubicBezTo>
                <a:cubicBezTo>
                  <a:pt x="74" y="26"/>
                  <a:pt x="74" y="26"/>
                  <a:pt x="74" y="26"/>
                </a:cubicBezTo>
                <a:cubicBezTo>
                  <a:pt x="74" y="26"/>
                  <a:pt x="74" y="26"/>
                  <a:pt x="74" y="26"/>
                </a:cubicBezTo>
                <a:cubicBezTo>
                  <a:pt x="74" y="25"/>
                  <a:pt x="73" y="25"/>
                  <a:pt x="73" y="25"/>
                </a:cubicBezTo>
                <a:cubicBezTo>
                  <a:pt x="70" y="25"/>
                  <a:pt x="67" y="24"/>
                  <a:pt x="65" y="20"/>
                </a:cubicBezTo>
                <a:cubicBezTo>
                  <a:pt x="63" y="17"/>
                  <a:pt x="62" y="12"/>
                  <a:pt x="62" y="5"/>
                </a:cubicBezTo>
                <a:cubicBezTo>
                  <a:pt x="62" y="5"/>
                  <a:pt x="62" y="5"/>
                  <a:pt x="62" y="5"/>
                </a:cubicBezTo>
                <a:cubicBezTo>
                  <a:pt x="62" y="4"/>
                  <a:pt x="62" y="3"/>
                  <a:pt x="62" y="2"/>
                </a:cubicBezTo>
                <a:cubicBezTo>
                  <a:pt x="61" y="1"/>
                  <a:pt x="60" y="0"/>
                  <a:pt x="60" y="0"/>
                </a:cubicBezTo>
                <a:cubicBezTo>
                  <a:pt x="59" y="0"/>
                  <a:pt x="58" y="1"/>
                  <a:pt x="58" y="2"/>
                </a:cubicBezTo>
                <a:cubicBezTo>
                  <a:pt x="57" y="3"/>
                  <a:pt x="57" y="4"/>
                  <a:pt x="57" y="5"/>
                </a:cubicBezTo>
                <a:cubicBezTo>
                  <a:pt x="57" y="5"/>
                  <a:pt x="57" y="5"/>
                  <a:pt x="57" y="5"/>
                </a:cubicBezTo>
                <a:cubicBezTo>
                  <a:pt x="57" y="12"/>
                  <a:pt x="56" y="17"/>
                  <a:pt x="54" y="20"/>
                </a:cubicBezTo>
                <a:cubicBezTo>
                  <a:pt x="54" y="21"/>
                  <a:pt x="53" y="22"/>
                  <a:pt x="52" y="23"/>
                </a:cubicBezTo>
                <a:cubicBezTo>
                  <a:pt x="52" y="23"/>
                  <a:pt x="52" y="23"/>
                  <a:pt x="51" y="24"/>
                </a:cubicBezTo>
                <a:cubicBezTo>
                  <a:pt x="50" y="25"/>
                  <a:pt x="48" y="25"/>
                  <a:pt x="47" y="25"/>
                </a:cubicBezTo>
                <a:cubicBezTo>
                  <a:pt x="47" y="25"/>
                  <a:pt x="47" y="25"/>
                  <a:pt x="46" y="26"/>
                </a:cubicBezTo>
                <a:cubicBezTo>
                  <a:pt x="46" y="26"/>
                  <a:pt x="46" y="26"/>
                  <a:pt x="46" y="26"/>
                </a:cubicBezTo>
                <a:cubicBezTo>
                  <a:pt x="46" y="26"/>
                  <a:pt x="46" y="26"/>
                  <a:pt x="46" y="26"/>
                </a:cubicBezTo>
                <a:cubicBezTo>
                  <a:pt x="46" y="28"/>
                  <a:pt x="46" y="28"/>
                  <a:pt x="46" y="28"/>
                </a:cubicBezTo>
                <a:cubicBezTo>
                  <a:pt x="46" y="30"/>
                  <a:pt x="46" y="30"/>
                  <a:pt x="46" y="30"/>
                </a:cubicBezTo>
                <a:cubicBezTo>
                  <a:pt x="46" y="31"/>
                  <a:pt x="46" y="31"/>
                  <a:pt x="46" y="31"/>
                </a:cubicBezTo>
                <a:cubicBezTo>
                  <a:pt x="46" y="31"/>
                  <a:pt x="47" y="32"/>
                  <a:pt x="47" y="32"/>
                </a:cubicBezTo>
                <a:cubicBezTo>
                  <a:pt x="47" y="32"/>
                  <a:pt x="47" y="32"/>
                  <a:pt x="47" y="32"/>
                </a:cubicBezTo>
                <a:cubicBezTo>
                  <a:pt x="48" y="32"/>
                  <a:pt x="48" y="32"/>
                  <a:pt x="48" y="32"/>
                </a:cubicBezTo>
                <a:cubicBezTo>
                  <a:pt x="50" y="32"/>
                  <a:pt x="50" y="32"/>
                  <a:pt x="50" y="32"/>
                </a:cubicBezTo>
                <a:cubicBezTo>
                  <a:pt x="50" y="33"/>
                  <a:pt x="50" y="33"/>
                  <a:pt x="50" y="33"/>
                </a:cubicBezTo>
                <a:cubicBezTo>
                  <a:pt x="50" y="35"/>
                  <a:pt x="50" y="35"/>
                  <a:pt x="50" y="35"/>
                </a:cubicBezTo>
                <a:cubicBezTo>
                  <a:pt x="50" y="38"/>
                  <a:pt x="50" y="38"/>
                  <a:pt x="50" y="38"/>
                </a:cubicBezTo>
                <a:cubicBezTo>
                  <a:pt x="50" y="38"/>
                  <a:pt x="50" y="38"/>
                  <a:pt x="50" y="38"/>
                </a:cubicBezTo>
                <a:cubicBezTo>
                  <a:pt x="49" y="38"/>
                  <a:pt x="49" y="38"/>
                  <a:pt x="49" y="38"/>
                </a:cubicBezTo>
                <a:cubicBezTo>
                  <a:pt x="48" y="39"/>
                  <a:pt x="48" y="39"/>
                  <a:pt x="47" y="39"/>
                </a:cubicBezTo>
                <a:cubicBezTo>
                  <a:pt x="47" y="40"/>
                  <a:pt x="47" y="40"/>
                  <a:pt x="47" y="40"/>
                </a:cubicBezTo>
                <a:cubicBezTo>
                  <a:pt x="47" y="41"/>
                  <a:pt x="47" y="41"/>
                  <a:pt x="47" y="41"/>
                </a:cubicBezTo>
                <a:cubicBezTo>
                  <a:pt x="47" y="41"/>
                  <a:pt x="47" y="41"/>
                  <a:pt x="47" y="41"/>
                </a:cubicBezTo>
                <a:cubicBezTo>
                  <a:pt x="47" y="41"/>
                  <a:pt x="47" y="41"/>
                  <a:pt x="47" y="41"/>
                </a:cubicBezTo>
                <a:cubicBezTo>
                  <a:pt x="47" y="41"/>
                  <a:pt x="47" y="41"/>
                  <a:pt x="47" y="41"/>
                </a:cubicBezTo>
                <a:cubicBezTo>
                  <a:pt x="47" y="44"/>
                  <a:pt x="47" y="44"/>
                  <a:pt x="47" y="44"/>
                </a:cubicBezTo>
                <a:cubicBezTo>
                  <a:pt x="47" y="44"/>
                  <a:pt x="47" y="44"/>
                  <a:pt x="47" y="44"/>
                </a:cubicBezTo>
                <a:cubicBezTo>
                  <a:pt x="47" y="45"/>
                  <a:pt x="47" y="45"/>
                  <a:pt x="47" y="46"/>
                </a:cubicBezTo>
                <a:cubicBezTo>
                  <a:pt x="47" y="47"/>
                  <a:pt x="48" y="48"/>
                  <a:pt x="48" y="48"/>
                </a:cubicBezTo>
                <a:cubicBezTo>
                  <a:pt x="48" y="48"/>
                  <a:pt x="48" y="48"/>
                  <a:pt x="48" y="49"/>
                </a:cubicBezTo>
                <a:cubicBezTo>
                  <a:pt x="49" y="51"/>
                  <a:pt x="50" y="52"/>
                  <a:pt x="52" y="53"/>
                </a:cubicBezTo>
                <a:cubicBezTo>
                  <a:pt x="52" y="54"/>
                  <a:pt x="52" y="54"/>
                  <a:pt x="52" y="54"/>
                </a:cubicBezTo>
                <a:cubicBezTo>
                  <a:pt x="52" y="55"/>
                  <a:pt x="52" y="55"/>
                  <a:pt x="52" y="55"/>
                </a:cubicBezTo>
                <a:cubicBezTo>
                  <a:pt x="52" y="55"/>
                  <a:pt x="52" y="55"/>
                  <a:pt x="52" y="55"/>
                </a:cubicBezTo>
                <a:cubicBezTo>
                  <a:pt x="52" y="58"/>
                  <a:pt x="52" y="58"/>
                  <a:pt x="52" y="58"/>
                </a:cubicBezTo>
                <a:cubicBezTo>
                  <a:pt x="52" y="59"/>
                  <a:pt x="52" y="59"/>
                  <a:pt x="52" y="59"/>
                </a:cubicBezTo>
                <a:cubicBezTo>
                  <a:pt x="52" y="59"/>
                  <a:pt x="52" y="59"/>
                  <a:pt x="52" y="59"/>
                </a:cubicBezTo>
                <a:cubicBezTo>
                  <a:pt x="52" y="61"/>
                  <a:pt x="52" y="61"/>
                  <a:pt x="52" y="61"/>
                </a:cubicBezTo>
                <a:cubicBezTo>
                  <a:pt x="52" y="61"/>
                  <a:pt x="52" y="61"/>
                  <a:pt x="52" y="61"/>
                </a:cubicBezTo>
                <a:cubicBezTo>
                  <a:pt x="52" y="63"/>
                  <a:pt x="52" y="63"/>
                  <a:pt x="52" y="63"/>
                </a:cubicBezTo>
                <a:cubicBezTo>
                  <a:pt x="52" y="65"/>
                  <a:pt x="52" y="65"/>
                  <a:pt x="52" y="65"/>
                </a:cubicBezTo>
                <a:cubicBezTo>
                  <a:pt x="52" y="66"/>
                  <a:pt x="52" y="66"/>
                  <a:pt x="52" y="66"/>
                </a:cubicBezTo>
                <a:cubicBezTo>
                  <a:pt x="52" y="66"/>
                  <a:pt x="52" y="66"/>
                  <a:pt x="52" y="66"/>
                </a:cubicBezTo>
                <a:cubicBezTo>
                  <a:pt x="52" y="67"/>
                  <a:pt x="52" y="67"/>
                  <a:pt x="52" y="67"/>
                </a:cubicBezTo>
                <a:cubicBezTo>
                  <a:pt x="52" y="68"/>
                  <a:pt x="52" y="68"/>
                  <a:pt x="52" y="68"/>
                </a:cubicBezTo>
                <a:cubicBezTo>
                  <a:pt x="52" y="68"/>
                  <a:pt x="52" y="68"/>
                  <a:pt x="52" y="68"/>
                </a:cubicBezTo>
                <a:cubicBezTo>
                  <a:pt x="52" y="69"/>
                  <a:pt x="52" y="69"/>
                  <a:pt x="52" y="69"/>
                </a:cubicBezTo>
                <a:cubicBezTo>
                  <a:pt x="52" y="69"/>
                  <a:pt x="52" y="69"/>
                  <a:pt x="52" y="69"/>
                </a:cubicBezTo>
                <a:cubicBezTo>
                  <a:pt x="52" y="70"/>
                  <a:pt x="52" y="70"/>
                  <a:pt x="52" y="70"/>
                </a:cubicBezTo>
                <a:cubicBezTo>
                  <a:pt x="52" y="71"/>
                  <a:pt x="52" y="71"/>
                  <a:pt x="52" y="71"/>
                </a:cubicBezTo>
                <a:cubicBezTo>
                  <a:pt x="52" y="71"/>
                  <a:pt x="52" y="71"/>
                  <a:pt x="52" y="71"/>
                </a:cubicBezTo>
                <a:cubicBezTo>
                  <a:pt x="52" y="72"/>
                  <a:pt x="52" y="72"/>
                  <a:pt x="52" y="72"/>
                </a:cubicBezTo>
                <a:cubicBezTo>
                  <a:pt x="52" y="74"/>
                  <a:pt x="52" y="74"/>
                  <a:pt x="52" y="74"/>
                </a:cubicBezTo>
                <a:cubicBezTo>
                  <a:pt x="52" y="76"/>
                  <a:pt x="52" y="76"/>
                  <a:pt x="52" y="76"/>
                </a:cubicBezTo>
                <a:cubicBezTo>
                  <a:pt x="52" y="76"/>
                  <a:pt x="52" y="76"/>
                  <a:pt x="52" y="76"/>
                </a:cubicBezTo>
                <a:cubicBezTo>
                  <a:pt x="52" y="77"/>
                  <a:pt x="52" y="77"/>
                  <a:pt x="52" y="77"/>
                </a:cubicBezTo>
                <a:cubicBezTo>
                  <a:pt x="52" y="77"/>
                  <a:pt x="52" y="77"/>
                  <a:pt x="52" y="77"/>
                </a:cubicBezTo>
                <a:cubicBezTo>
                  <a:pt x="52" y="79"/>
                  <a:pt x="52" y="79"/>
                  <a:pt x="52" y="79"/>
                </a:cubicBezTo>
                <a:cubicBezTo>
                  <a:pt x="52" y="81"/>
                  <a:pt x="52" y="81"/>
                  <a:pt x="52" y="81"/>
                </a:cubicBezTo>
                <a:cubicBezTo>
                  <a:pt x="51" y="84"/>
                  <a:pt x="51" y="84"/>
                  <a:pt x="51" y="84"/>
                </a:cubicBezTo>
                <a:cubicBezTo>
                  <a:pt x="51" y="85"/>
                  <a:pt x="51" y="85"/>
                  <a:pt x="51" y="85"/>
                </a:cubicBezTo>
                <a:cubicBezTo>
                  <a:pt x="51" y="86"/>
                  <a:pt x="51" y="86"/>
                  <a:pt x="51" y="86"/>
                </a:cubicBezTo>
                <a:cubicBezTo>
                  <a:pt x="51" y="87"/>
                  <a:pt x="51" y="87"/>
                  <a:pt x="51" y="87"/>
                </a:cubicBezTo>
                <a:cubicBezTo>
                  <a:pt x="51" y="88"/>
                  <a:pt x="51" y="88"/>
                  <a:pt x="51" y="88"/>
                </a:cubicBezTo>
                <a:cubicBezTo>
                  <a:pt x="51" y="88"/>
                  <a:pt x="51" y="88"/>
                  <a:pt x="51" y="88"/>
                </a:cubicBezTo>
                <a:cubicBezTo>
                  <a:pt x="51" y="90"/>
                  <a:pt x="51" y="90"/>
                  <a:pt x="51" y="90"/>
                </a:cubicBezTo>
                <a:cubicBezTo>
                  <a:pt x="51" y="91"/>
                  <a:pt x="51" y="91"/>
                  <a:pt x="51" y="91"/>
                </a:cubicBezTo>
                <a:cubicBezTo>
                  <a:pt x="51" y="93"/>
                  <a:pt x="51" y="93"/>
                  <a:pt x="51" y="93"/>
                </a:cubicBezTo>
                <a:cubicBezTo>
                  <a:pt x="51" y="94"/>
                  <a:pt x="51" y="94"/>
                  <a:pt x="51" y="94"/>
                </a:cubicBezTo>
                <a:cubicBezTo>
                  <a:pt x="51" y="97"/>
                  <a:pt x="51" y="97"/>
                  <a:pt x="51" y="97"/>
                </a:cubicBezTo>
                <a:cubicBezTo>
                  <a:pt x="51" y="98"/>
                  <a:pt x="51" y="98"/>
                  <a:pt x="51" y="98"/>
                </a:cubicBezTo>
                <a:cubicBezTo>
                  <a:pt x="51" y="99"/>
                  <a:pt x="51" y="99"/>
                  <a:pt x="51" y="99"/>
                </a:cubicBezTo>
                <a:cubicBezTo>
                  <a:pt x="51" y="100"/>
                  <a:pt x="51" y="100"/>
                  <a:pt x="51" y="100"/>
                </a:cubicBezTo>
                <a:cubicBezTo>
                  <a:pt x="51" y="101"/>
                  <a:pt x="51" y="101"/>
                  <a:pt x="51" y="101"/>
                </a:cubicBezTo>
                <a:cubicBezTo>
                  <a:pt x="51" y="101"/>
                  <a:pt x="51" y="101"/>
                  <a:pt x="51" y="101"/>
                </a:cubicBezTo>
                <a:cubicBezTo>
                  <a:pt x="51" y="101"/>
                  <a:pt x="51" y="101"/>
                  <a:pt x="51" y="101"/>
                </a:cubicBezTo>
                <a:cubicBezTo>
                  <a:pt x="51" y="102"/>
                  <a:pt x="51" y="102"/>
                  <a:pt x="51" y="102"/>
                </a:cubicBezTo>
                <a:cubicBezTo>
                  <a:pt x="51" y="104"/>
                  <a:pt x="51" y="104"/>
                  <a:pt x="51" y="104"/>
                </a:cubicBezTo>
                <a:cubicBezTo>
                  <a:pt x="51" y="107"/>
                  <a:pt x="51" y="107"/>
                  <a:pt x="51" y="107"/>
                </a:cubicBezTo>
                <a:cubicBezTo>
                  <a:pt x="50" y="108"/>
                  <a:pt x="50" y="108"/>
                  <a:pt x="50" y="108"/>
                </a:cubicBezTo>
                <a:cubicBezTo>
                  <a:pt x="50" y="109"/>
                  <a:pt x="50" y="109"/>
                  <a:pt x="50" y="109"/>
                </a:cubicBezTo>
                <a:cubicBezTo>
                  <a:pt x="50" y="111"/>
                  <a:pt x="50" y="111"/>
                  <a:pt x="50" y="111"/>
                </a:cubicBezTo>
                <a:cubicBezTo>
                  <a:pt x="50" y="112"/>
                  <a:pt x="50" y="112"/>
                  <a:pt x="50" y="112"/>
                </a:cubicBezTo>
                <a:cubicBezTo>
                  <a:pt x="50" y="114"/>
                  <a:pt x="50" y="114"/>
                  <a:pt x="50" y="114"/>
                </a:cubicBezTo>
                <a:cubicBezTo>
                  <a:pt x="50" y="117"/>
                  <a:pt x="50" y="117"/>
                  <a:pt x="50" y="117"/>
                </a:cubicBezTo>
                <a:cubicBezTo>
                  <a:pt x="50" y="119"/>
                  <a:pt x="50" y="119"/>
                  <a:pt x="50" y="119"/>
                </a:cubicBezTo>
                <a:cubicBezTo>
                  <a:pt x="50" y="121"/>
                  <a:pt x="50" y="121"/>
                  <a:pt x="50" y="121"/>
                </a:cubicBezTo>
                <a:cubicBezTo>
                  <a:pt x="50" y="123"/>
                  <a:pt x="50" y="123"/>
                  <a:pt x="50" y="123"/>
                </a:cubicBezTo>
                <a:cubicBezTo>
                  <a:pt x="50" y="125"/>
                  <a:pt x="50" y="125"/>
                  <a:pt x="50" y="125"/>
                </a:cubicBezTo>
                <a:cubicBezTo>
                  <a:pt x="50" y="127"/>
                  <a:pt x="50" y="127"/>
                  <a:pt x="50" y="127"/>
                </a:cubicBezTo>
                <a:cubicBezTo>
                  <a:pt x="50" y="129"/>
                  <a:pt x="50" y="129"/>
                  <a:pt x="50" y="129"/>
                </a:cubicBezTo>
                <a:cubicBezTo>
                  <a:pt x="49" y="130"/>
                  <a:pt x="49" y="130"/>
                  <a:pt x="49" y="130"/>
                </a:cubicBezTo>
                <a:cubicBezTo>
                  <a:pt x="49" y="134"/>
                  <a:pt x="49" y="134"/>
                  <a:pt x="49" y="134"/>
                </a:cubicBezTo>
                <a:cubicBezTo>
                  <a:pt x="49" y="136"/>
                  <a:pt x="49" y="136"/>
                  <a:pt x="49" y="136"/>
                </a:cubicBezTo>
                <a:cubicBezTo>
                  <a:pt x="49" y="137"/>
                  <a:pt x="49" y="137"/>
                  <a:pt x="49" y="137"/>
                </a:cubicBezTo>
                <a:cubicBezTo>
                  <a:pt x="49" y="138"/>
                  <a:pt x="49" y="138"/>
                  <a:pt x="49" y="138"/>
                </a:cubicBezTo>
                <a:cubicBezTo>
                  <a:pt x="49" y="139"/>
                  <a:pt x="49" y="139"/>
                  <a:pt x="49" y="139"/>
                </a:cubicBezTo>
                <a:cubicBezTo>
                  <a:pt x="49" y="143"/>
                  <a:pt x="49" y="143"/>
                  <a:pt x="49" y="143"/>
                </a:cubicBezTo>
                <a:cubicBezTo>
                  <a:pt x="49" y="145"/>
                  <a:pt x="49" y="145"/>
                  <a:pt x="49" y="145"/>
                </a:cubicBezTo>
                <a:cubicBezTo>
                  <a:pt x="49" y="148"/>
                  <a:pt x="49" y="148"/>
                  <a:pt x="49" y="148"/>
                </a:cubicBezTo>
                <a:cubicBezTo>
                  <a:pt x="48" y="151"/>
                  <a:pt x="48" y="151"/>
                  <a:pt x="48" y="151"/>
                </a:cubicBezTo>
                <a:cubicBezTo>
                  <a:pt x="48" y="155"/>
                  <a:pt x="48" y="155"/>
                  <a:pt x="48" y="155"/>
                </a:cubicBezTo>
                <a:cubicBezTo>
                  <a:pt x="48" y="156"/>
                  <a:pt x="48" y="156"/>
                  <a:pt x="48" y="156"/>
                </a:cubicBezTo>
                <a:cubicBezTo>
                  <a:pt x="48" y="159"/>
                  <a:pt x="48" y="159"/>
                  <a:pt x="48" y="159"/>
                </a:cubicBezTo>
                <a:cubicBezTo>
                  <a:pt x="48" y="162"/>
                  <a:pt x="48" y="162"/>
                  <a:pt x="48" y="162"/>
                </a:cubicBezTo>
                <a:cubicBezTo>
                  <a:pt x="48" y="165"/>
                  <a:pt x="48" y="165"/>
                  <a:pt x="48" y="165"/>
                </a:cubicBezTo>
                <a:cubicBezTo>
                  <a:pt x="48" y="167"/>
                  <a:pt x="48" y="167"/>
                  <a:pt x="48" y="167"/>
                </a:cubicBezTo>
                <a:cubicBezTo>
                  <a:pt x="47" y="168"/>
                  <a:pt x="47" y="168"/>
                  <a:pt x="47" y="168"/>
                </a:cubicBezTo>
                <a:cubicBezTo>
                  <a:pt x="47" y="170"/>
                  <a:pt x="47" y="172"/>
                  <a:pt x="47" y="173"/>
                </a:cubicBezTo>
                <a:cubicBezTo>
                  <a:pt x="47" y="176"/>
                  <a:pt x="47" y="176"/>
                  <a:pt x="47" y="176"/>
                </a:cubicBezTo>
                <a:cubicBezTo>
                  <a:pt x="47" y="179"/>
                  <a:pt x="47" y="179"/>
                  <a:pt x="47" y="179"/>
                </a:cubicBezTo>
                <a:cubicBezTo>
                  <a:pt x="47" y="181"/>
                  <a:pt x="47" y="183"/>
                  <a:pt x="46" y="185"/>
                </a:cubicBezTo>
                <a:cubicBezTo>
                  <a:pt x="46" y="187"/>
                  <a:pt x="46" y="187"/>
                  <a:pt x="46" y="187"/>
                </a:cubicBezTo>
                <a:cubicBezTo>
                  <a:pt x="46" y="190"/>
                  <a:pt x="46" y="190"/>
                  <a:pt x="46" y="190"/>
                </a:cubicBezTo>
                <a:cubicBezTo>
                  <a:pt x="46" y="191"/>
                  <a:pt x="46" y="191"/>
                  <a:pt x="46" y="191"/>
                </a:cubicBezTo>
                <a:cubicBezTo>
                  <a:pt x="46" y="191"/>
                  <a:pt x="46" y="191"/>
                  <a:pt x="46" y="192"/>
                </a:cubicBezTo>
                <a:cubicBezTo>
                  <a:pt x="46" y="192"/>
                  <a:pt x="46" y="192"/>
                  <a:pt x="46" y="192"/>
                </a:cubicBezTo>
                <a:cubicBezTo>
                  <a:pt x="46" y="195"/>
                  <a:pt x="46" y="195"/>
                  <a:pt x="46" y="195"/>
                </a:cubicBezTo>
                <a:cubicBezTo>
                  <a:pt x="45" y="197"/>
                  <a:pt x="45" y="199"/>
                  <a:pt x="45" y="200"/>
                </a:cubicBezTo>
                <a:cubicBezTo>
                  <a:pt x="45" y="203"/>
                  <a:pt x="45" y="203"/>
                  <a:pt x="45" y="203"/>
                </a:cubicBezTo>
                <a:cubicBezTo>
                  <a:pt x="45" y="205"/>
                  <a:pt x="45" y="206"/>
                  <a:pt x="45" y="208"/>
                </a:cubicBezTo>
                <a:cubicBezTo>
                  <a:pt x="44" y="211"/>
                  <a:pt x="44" y="214"/>
                  <a:pt x="44" y="217"/>
                </a:cubicBezTo>
                <a:cubicBezTo>
                  <a:pt x="44" y="218"/>
                  <a:pt x="44" y="218"/>
                  <a:pt x="44" y="218"/>
                </a:cubicBezTo>
                <a:cubicBezTo>
                  <a:pt x="44" y="220"/>
                  <a:pt x="43" y="221"/>
                  <a:pt x="43" y="223"/>
                </a:cubicBezTo>
                <a:cubicBezTo>
                  <a:pt x="43" y="225"/>
                  <a:pt x="43" y="227"/>
                  <a:pt x="43" y="229"/>
                </a:cubicBezTo>
                <a:cubicBezTo>
                  <a:pt x="42" y="231"/>
                  <a:pt x="42" y="231"/>
                  <a:pt x="42" y="231"/>
                </a:cubicBezTo>
                <a:cubicBezTo>
                  <a:pt x="42" y="234"/>
                  <a:pt x="42" y="236"/>
                  <a:pt x="42" y="239"/>
                </a:cubicBezTo>
                <a:cubicBezTo>
                  <a:pt x="41" y="241"/>
                  <a:pt x="41" y="243"/>
                  <a:pt x="41" y="245"/>
                </a:cubicBezTo>
                <a:cubicBezTo>
                  <a:pt x="41" y="247"/>
                  <a:pt x="40" y="248"/>
                  <a:pt x="40" y="250"/>
                </a:cubicBezTo>
                <a:cubicBezTo>
                  <a:pt x="40" y="251"/>
                  <a:pt x="40" y="251"/>
                  <a:pt x="40" y="251"/>
                </a:cubicBezTo>
                <a:cubicBezTo>
                  <a:pt x="40" y="252"/>
                  <a:pt x="40" y="252"/>
                  <a:pt x="40" y="252"/>
                </a:cubicBezTo>
                <a:cubicBezTo>
                  <a:pt x="40" y="253"/>
                  <a:pt x="40" y="253"/>
                  <a:pt x="40" y="253"/>
                </a:cubicBezTo>
                <a:cubicBezTo>
                  <a:pt x="40" y="253"/>
                  <a:pt x="40" y="253"/>
                  <a:pt x="40" y="253"/>
                </a:cubicBezTo>
                <a:cubicBezTo>
                  <a:pt x="40" y="254"/>
                  <a:pt x="40" y="254"/>
                  <a:pt x="40" y="254"/>
                </a:cubicBezTo>
                <a:cubicBezTo>
                  <a:pt x="39" y="256"/>
                  <a:pt x="39" y="256"/>
                  <a:pt x="39" y="256"/>
                </a:cubicBezTo>
                <a:cubicBezTo>
                  <a:pt x="39" y="257"/>
                  <a:pt x="39" y="258"/>
                  <a:pt x="39" y="259"/>
                </a:cubicBezTo>
                <a:cubicBezTo>
                  <a:pt x="39" y="261"/>
                  <a:pt x="39" y="261"/>
                  <a:pt x="39" y="261"/>
                </a:cubicBezTo>
                <a:cubicBezTo>
                  <a:pt x="39" y="261"/>
                  <a:pt x="39" y="261"/>
                  <a:pt x="39" y="261"/>
                </a:cubicBezTo>
                <a:cubicBezTo>
                  <a:pt x="36" y="261"/>
                  <a:pt x="36" y="261"/>
                  <a:pt x="36" y="261"/>
                </a:cubicBezTo>
                <a:cubicBezTo>
                  <a:pt x="34" y="261"/>
                  <a:pt x="34" y="261"/>
                  <a:pt x="34" y="261"/>
                </a:cubicBezTo>
                <a:cubicBezTo>
                  <a:pt x="33" y="261"/>
                  <a:pt x="33" y="261"/>
                  <a:pt x="33" y="261"/>
                </a:cubicBezTo>
                <a:cubicBezTo>
                  <a:pt x="32" y="261"/>
                  <a:pt x="32" y="261"/>
                  <a:pt x="32" y="261"/>
                </a:cubicBezTo>
                <a:cubicBezTo>
                  <a:pt x="32" y="261"/>
                  <a:pt x="32" y="261"/>
                  <a:pt x="32" y="261"/>
                </a:cubicBezTo>
                <a:cubicBezTo>
                  <a:pt x="31" y="261"/>
                  <a:pt x="31" y="261"/>
                  <a:pt x="31" y="262"/>
                </a:cubicBezTo>
                <a:cubicBezTo>
                  <a:pt x="31" y="262"/>
                  <a:pt x="31" y="262"/>
                  <a:pt x="31" y="262"/>
                </a:cubicBezTo>
                <a:cubicBezTo>
                  <a:pt x="31" y="262"/>
                  <a:pt x="31" y="262"/>
                  <a:pt x="31" y="262"/>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1" y="264"/>
                  <a:pt x="31" y="264"/>
                  <a:pt x="31" y="264"/>
                </a:cubicBezTo>
                <a:cubicBezTo>
                  <a:pt x="32" y="268"/>
                  <a:pt x="32" y="268"/>
                  <a:pt x="32" y="268"/>
                </a:cubicBezTo>
                <a:cubicBezTo>
                  <a:pt x="33" y="270"/>
                  <a:pt x="33" y="270"/>
                  <a:pt x="33" y="270"/>
                </a:cubicBezTo>
                <a:cubicBezTo>
                  <a:pt x="33" y="271"/>
                  <a:pt x="33" y="271"/>
                  <a:pt x="33" y="271"/>
                </a:cubicBezTo>
                <a:cubicBezTo>
                  <a:pt x="33" y="273"/>
                  <a:pt x="33" y="273"/>
                  <a:pt x="33" y="273"/>
                </a:cubicBezTo>
                <a:cubicBezTo>
                  <a:pt x="34" y="276"/>
                  <a:pt x="34" y="276"/>
                  <a:pt x="34" y="276"/>
                </a:cubicBezTo>
                <a:cubicBezTo>
                  <a:pt x="35" y="277"/>
                  <a:pt x="35" y="277"/>
                  <a:pt x="35" y="277"/>
                </a:cubicBezTo>
                <a:cubicBezTo>
                  <a:pt x="35" y="279"/>
                  <a:pt x="35" y="279"/>
                  <a:pt x="35" y="279"/>
                </a:cubicBezTo>
                <a:cubicBezTo>
                  <a:pt x="35" y="280"/>
                  <a:pt x="35" y="280"/>
                  <a:pt x="35" y="280"/>
                </a:cubicBezTo>
                <a:cubicBezTo>
                  <a:pt x="35" y="281"/>
                  <a:pt x="35" y="281"/>
                  <a:pt x="35" y="281"/>
                </a:cubicBezTo>
                <a:cubicBezTo>
                  <a:pt x="35" y="283"/>
                  <a:pt x="35" y="283"/>
                  <a:pt x="35" y="283"/>
                </a:cubicBezTo>
                <a:cubicBezTo>
                  <a:pt x="34" y="283"/>
                  <a:pt x="34" y="284"/>
                  <a:pt x="34" y="284"/>
                </a:cubicBezTo>
                <a:cubicBezTo>
                  <a:pt x="34" y="286"/>
                  <a:pt x="34" y="286"/>
                  <a:pt x="34" y="286"/>
                </a:cubicBezTo>
                <a:cubicBezTo>
                  <a:pt x="34" y="287"/>
                  <a:pt x="34" y="287"/>
                  <a:pt x="34" y="287"/>
                </a:cubicBezTo>
                <a:cubicBezTo>
                  <a:pt x="34" y="287"/>
                  <a:pt x="34" y="287"/>
                  <a:pt x="34" y="287"/>
                </a:cubicBezTo>
                <a:cubicBezTo>
                  <a:pt x="34" y="287"/>
                  <a:pt x="34" y="287"/>
                  <a:pt x="34" y="287"/>
                </a:cubicBezTo>
                <a:cubicBezTo>
                  <a:pt x="33" y="288"/>
                  <a:pt x="33" y="288"/>
                  <a:pt x="33" y="288"/>
                </a:cubicBezTo>
                <a:cubicBezTo>
                  <a:pt x="33" y="289"/>
                  <a:pt x="33" y="289"/>
                  <a:pt x="33" y="289"/>
                </a:cubicBezTo>
                <a:cubicBezTo>
                  <a:pt x="33" y="290"/>
                  <a:pt x="33" y="290"/>
                  <a:pt x="33" y="290"/>
                </a:cubicBezTo>
                <a:cubicBezTo>
                  <a:pt x="33" y="291"/>
                  <a:pt x="33" y="291"/>
                  <a:pt x="33" y="291"/>
                </a:cubicBezTo>
                <a:cubicBezTo>
                  <a:pt x="33" y="291"/>
                  <a:pt x="33" y="291"/>
                  <a:pt x="33" y="291"/>
                </a:cubicBezTo>
                <a:cubicBezTo>
                  <a:pt x="32" y="292"/>
                  <a:pt x="32" y="292"/>
                  <a:pt x="32" y="292"/>
                </a:cubicBezTo>
                <a:cubicBezTo>
                  <a:pt x="32" y="293"/>
                  <a:pt x="32" y="293"/>
                  <a:pt x="32" y="293"/>
                </a:cubicBezTo>
                <a:cubicBezTo>
                  <a:pt x="32" y="293"/>
                  <a:pt x="32" y="294"/>
                  <a:pt x="32" y="294"/>
                </a:cubicBezTo>
                <a:cubicBezTo>
                  <a:pt x="32" y="295"/>
                  <a:pt x="32" y="295"/>
                  <a:pt x="31" y="296"/>
                </a:cubicBezTo>
                <a:cubicBezTo>
                  <a:pt x="31" y="296"/>
                  <a:pt x="31" y="296"/>
                  <a:pt x="31" y="296"/>
                </a:cubicBezTo>
                <a:cubicBezTo>
                  <a:pt x="31" y="297"/>
                  <a:pt x="31" y="297"/>
                  <a:pt x="31" y="297"/>
                </a:cubicBezTo>
                <a:cubicBezTo>
                  <a:pt x="31" y="298"/>
                  <a:pt x="31" y="298"/>
                  <a:pt x="31" y="298"/>
                </a:cubicBezTo>
                <a:cubicBezTo>
                  <a:pt x="31" y="299"/>
                  <a:pt x="31" y="299"/>
                  <a:pt x="31" y="299"/>
                </a:cubicBezTo>
                <a:cubicBezTo>
                  <a:pt x="30" y="300"/>
                  <a:pt x="30" y="300"/>
                  <a:pt x="30" y="300"/>
                </a:cubicBezTo>
                <a:cubicBezTo>
                  <a:pt x="30" y="301"/>
                  <a:pt x="30" y="301"/>
                  <a:pt x="30" y="301"/>
                </a:cubicBezTo>
                <a:cubicBezTo>
                  <a:pt x="30" y="302"/>
                  <a:pt x="30" y="302"/>
                  <a:pt x="30" y="302"/>
                </a:cubicBezTo>
                <a:cubicBezTo>
                  <a:pt x="30" y="302"/>
                  <a:pt x="30" y="302"/>
                  <a:pt x="30" y="302"/>
                </a:cubicBezTo>
                <a:cubicBezTo>
                  <a:pt x="30" y="303"/>
                  <a:pt x="30" y="303"/>
                  <a:pt x="30" y="303"/>
                </a:cubicBezTo>
                <a:cubicBezTo>
                  <a:pt x="29" y="304"/>
                  <a:pt x="29" y="304"/>
                  <a:pt x="29" y="304"/>
                </a:cubicBezTo>
                <a:cubicBezTo>
                  <a:pt x="29" y="304"/>
                  <a:pt x="29" y="305"/>
                  <a:pt x="29" y="305"/>
                </a:cubicBezTo>
                <a:cubicBezTo>
                  <a:pt x="28" y="307"/>
                  <a:pt x="28" y="307"/>
                  <a:pt x="28" y="307"/>
                </a:cubicBezTo>
                <a:cubicBezTo>
                  <a:pt x="28" y="308"/>
                  <a:pt x="28" y="308"/>
                  <a:pt x="28" y="308"/>
                </a:cubicBezTo>
                <a:cubicBezTo>
                  <a:pt x="28" y="308"/>
                  <a:pt x="28" y="308"/>
                  <a:pt x="28" y="308"/>
                </a:cubicBezTo>
                <a:cubicBezTo>
                  <a:pt x="27" y="310"/>
                  <a:pt x="27" y="310"/>
                  <a:pt x="27" y="310"/>
                </a:cubicBezTo>
                <a:cubicBezTo>
                  <a:pt x="27" y="311"/>
                  <a:pt x="27" y="311"/>
                  <a:pt x="27" y="311"/>
                </a:cubicBezTo>
                <a:cubicBezTo>
                  <a:pt x="27" y="311"/>
                  <a:pt x="27" y="312"/>
                  <a:pt x="26" y="312"/>
                </a:cubicBezTo>
                <a:cubicBezTo>
                  <a:pt x="26" y="313"/>
                  <a:pt x="26" y="313"/>
                  <a:pt x="26" y="313"/>
                </a:cubicBezTo>
                <a:cubicBezTo>
                  <a:pt x="26" y="314"/>
                  <a:pt x="26" y="314"/>
                  <a:pt x="26" y="314"/>
                </a:cubicBezTo>
                <a:cubicBezTo>
                  <a:pt x="26" y="315"/>
                  <a:pt x="25" y="316"/>
                  <a:pt x="25" y="316"/>
                </a:cubicBezTo>
                <a:cubicBezTo>
                  <a:pt x="25" y="317"/>
                  <a:pt x="25" y="317"/>
                  <a:pt x="25" y="317"/>
                </a:cubicBezTo>
                <a:cubicBezTo>
                  <a:pt x="24" y="318"/>
                  <a:pt x="24" y="318"/>
                  <a:pt x="24" y="318"/>
                </a:cubicBezTo>
                <a:cubicBezTo>
                  <a:pt x="24" y="319"/>
                  <a:pt x="24" y="319"/>
                  <a:pt x="24" y="319"/>
                </a:cubicBezTo>
                <a:cubicBezTo>
                  <a:pt x="24" y="319"/>
                  <a:pt x="24" y="319"/>
                  <a:pt x="24" y="319"/>
                </a:cubicBezTo>
                <a:cubicBezTo>
                  <a:pt x="23" y="321"/>
                  <a:pt x="23" y="321"/>
                  <a:pt x="23" y="321"/>
                </a:cubicBezTo>
                <a:cubicBezTo>
                  <a:pt x="23" y="321"/>
                  <a:pt x="23" y="321"/>
                  <a:pt x="23" y="321"/>
                </a:cubicBezTo>
                <a:cubicBezTo>
                  <a:pt x="23" y="321"/>
                  <a:pt x="23" y="321"/>
                  <a:pt x="23" y="321"/>
                </a:cubicBezTo>
                <a:cubicBezTo>
                  <a:pt x="23" y="322"/>
                  <a:pt x="23" y="322"/>
                  <a:pt x="23" y="322"/>
                </a:cubicBezTo>
                <a:cubicBezTo>
                  <a:pt x="22" y="323"/>
                  <a:pt x="22" y="323"/>
                  <a:pt x="22" y="323"/>
                </a:cubicBezTo>
                <a:cubicBezTo>
                  <a:pt x="22" y="324"/>
                  <a:pt x="22" y="324"/>
                  <a:pt x="22" y="324"/>
                </a:cubicBezTo>
                <a:cubicBezTo>
                  <a:pt x="22" y="325"/>
                  <a:pt x="22" y="325"/>
                  <a:pt x="22" y="325"/>
                </a:cubicBezTo>
                <a:cubicBezTo>
                  <a:pt x="21" y="326"/>
                  <a:pt x="21" y="326"/>
                  <a:pt x="21" y="326"/>
                </a:cubicBezTo>
                <a:cubicBezTo>
                  <a:pt x="21" y="328"/>
                  <a:pt x="21" y="328"/>
                  <a:pt x="21" y="328"/>
                </a:cubicBezTo>
                <a:cubicBezTo>
                  <a:pt x="20" y="328"/>
                  <a:pt x="20" y="328"/>
                  <a:pt x="20" y="328"/>
                </a:cubicBezTo>
                <a:cubicBezTo>
                  <a:pt x="20" y="329"/>
                  <a:pt x="20" y="329"/>
                  <a:pt x="20" y="329"/>
                </a:cubicBezTo>
                <a:cubicBezTo>
                  <a:pt x="20" y="330"/>
                  <a:pt x="20" y="330"/>
                  <a:pt x="20" y="330"/>
                </a:cubicBezTo>
                <a:cubicBezTo>
                  <a:pt x="19" y="330"/>
                  <a:pt x="19" y="330"/>
                  <a:pt x="19" y="330"/>
                </a:cubicBezTo>
                <a:cubicBezTo>
                  <a:pt x="19" y="331"/>
                  <a:pt x="19" y="332"/>
                  <a:pt x="18" y="333"/>
                </a:cubicBezTo>
                <a:cubicBezTo>
                  <a:pt x="18" y="334"/>
                  <a:pt x="18" y="334"/>
                  <a:pt x="18" y="334"/>
                </a:cubicBezTo>
                <a:cubicBezTo>
                  <a:pt x="18" y="334"/>
                  <a:pt x="18" y="334"/>
                  <a:pt x="18" y="334"/>
                </a:cubicBezTo>
                <a:cubicBezTo>
                  <a:pt x="17" y="335"/>
                  <a:pt x="17" y="335"/>
                  <a:pt x="17" y="335"/>
                </a:cubicBezTo>
                <a:cubicBezTo>
                  <a:pt x="17" y="335"/>
                  <a:pt x="17" y="335"/>
                  <a:pt x="17" y="335"/>
                </a:cubicBezTo>
                <a:cubicBezTo>
                  <a:pt x="17" y="335"/>
                  <a:pt x="17" y="335"/>
                  <a:pt x="17" y="335"/>
                </a:cubicBezTo>
                <a:cubicBezTo>
                  <a:pt x="17" y="335"/>
                  <a:pt x="17" y="335"/>
                  <a:pt x="17" y="335"/>
                </a:cubicBezTo>
                <a:cubicBezTo>
                  <a:pt x="17" y="336"/>
                  <a:pt x="17" y="336"/>
                  <a:pt x="17" y="336"/>
                </a:cubicBezTo>
                <a:cubicBezTo>
                  <a:pt x="16" y="337"/>
                  <a:pt x="16" y="337"/>
                  <a:pt x="16" y="337"/>
                </a:cubicBezTo>
                <a:cubicBezTo>
                  <a:pt x="16" y="337"/>
                  <a:pt x="16" y="337"/>
                  <a:pt x="16" y="337"/>
                </a:cubicBezTo>
                <a:cubicBezTo>
                  <a:pt x="16" y="338"/>
                  <a:pt x="16" y="338"/>
                  <a:pt x="16" y="338"/>
                </a:cubicBezTo>
                <a:cubicBezTo>
                  <a:pt x="15" y="339"/>
                  <a:pt x="15" y="339"/>
                  <a:pt x="15" y="339"/>
                </a:cubicBezTo>
                <a:cubicBezTo>
                  <a:pt x="15" y="340"/>
                  <a:pt x="15" y="340"/>
                  <a:pt x="15" y="340"/>
                </a:cubicBezTo>
                <a:cubicBezTo>
                  <a:pt x="15" y="340"/>
                  <a:pt x="15" y="340"/>
                  <a:pt x="15" y="340"/>
                </a:cubicBezTo>
                <a:cubicBezTo>
                  <a:pt x="14" y="341"/>
                  <a:pt x="14" y="341"/>
                  <a:pt x="14" y="341"/>
                </a:cubicBezTo>
                <a:cubicBezTo>
                  <a:pt x="14" y="341"/>
                  <a:pt x="14" y="341"/>
                  <a:pt x="14" y="341"/>
                </a:cubicBezTo>
                <a:cubicBezTo>
                  <a:pt x="14" y="343"/>
                  <a:pt x="14" y="343"/>
                  <a:pt x="14" y="343"/>
                </a:cubicBezTo>
                <a:cubicBezTo>
                  <a:pt x="13" y="343"/>
                  <a:pt x="13" y="343"/>
                  <a:pt x="13" y="343"/>
                </a:cubicBezTo>
                <a:cubicBezTo>
                  <a:pt x="12" y="343"/>
                  <a:pt x="12" y="343"/>
                  <a:pt x="12" y="343"/>
                </a:cubicBezTo>
                <a:cubicBezTo>
                  <a:pt x="11" y="343"/>
                  <a:pt x="11" y="343"/>
                  <a:pt x="11" y="343"/>
                </a:cubicBezTo>
                <a:cubicBezTo>
                  <a:pt x="11" y="343"/>
                  <a:pt x="11" y="343"/>
                  <a:pt x="11" y="343"/>
                </a:cubicBezTo>
                <a:cubicBezTo>
                  <a:pt x="9" y="343"/>
                  <a:pt x="9" y="343"/>
                  <a:pt x="9" y="343"/>
                </a:cubicBezTo>
                <a:cubicBezTo>
                  <a:pt x="9" y="343"/>
                  <a:pt x="9" y="343"/>
                  <a:pt x="9" y="343"/>
                </a:cubicBezTo>
                <a:cubicBezTo>
                  <a:pt x="9" y="343"/>
                  <a:pt x="9" y="343"/>
                  <a:pt x="9" y="343"/>
                </a:cubicBezTo>
                <a:cubicBezTo>
                  <a:pt x="9" y="343"/>
                  <a:pt x="8" y="343"/>
                  <a:pt x="8" y="343"/>
                </a:cubicBezTo>
                <a:cubicBezTo>
                  <a:pt x="8" y="343"/>
                  <a:pt x="8" y="343"/>
                  <a:pt x="8" y="343"/>
                </a:cubicBezTo>
                <a:cubicBezTo>
                  <a:pt x="8" y="343"/>
                  <a:pt x="8" y="343"/>
                  <a:pt x="8" y="344"/>
                </a:cubicBezTo>
                <a:cubicBezTo>
                  <a:pt x="8" y="344"/>
                  <a:pt x="8" y="344"/>
                  <a:pt x="8" y="344"/>
                </a:cubicBezTo>
                <a:cubicBezTo>
                  <a:pt x="8" y="344"/>
                  <a:pt x="8" y="344"/>
                  <a:pt x="8" y="344"/>
                </a:cubicBezTo>
                <a:cubicBezTo>
                  <a:pt x="8" y="344"/>
                  <a:pt x="8" y="344"/>
                  <a:pt x="8" y="344"/>
                </a:cubicBezTo>
                <a:cubicBezTo>
                  <a:pt x="8" y="346"/>
                  <a:pt x="8" y="346"/>
                  <a:pt x="8" y="346"/>
                </a:cubicBezTo>
                <a:cubicBezTo>
                  <a:pt x="8" y="347"/>
                  <a:pt x="8" y="347"/>
                  <a:pt x="8" y="347"/>
                </a:cubicBezTo>
                <a:cubicBezTo>
                  <a:pt x="8" y="352"/>
                  <a:pt x="8" y="352"/>
                  <a:pt x="8" y="352"/>
                </a:cubicBezTo>
                <a:cubicBezTo>
                  <a:pt x="8" y="353"/>
                  <a:pt x="8" y="353"/>
                  <a:pt x="8" y="353"/>
                </a:cubicBezTo>
                <a:cubicBezTo>
                  <a:pt x="8" y="354"/>
                  <a:pt x="8" y="354"/>
                  <a:pt x="8" y="354"/>
                </a:cubicBezTo>
                <a:cubicBezTo>
                  <a:pt x="8" y="354"/>
                  <a:pt x="8" y="354"/>
                  <a:pt x="8" y="354"/>
                </a:cubicBezTo>
                <a:cubicBezTo>
                  <a:pt x="8" y="354"/>
                  <a:pt x="8" y="354"/>
                  <a:pt x="8" y="354"/>
                </a:cubicBezTo>
                <a:cubicBezTo>
                  <a:pt x="8" y="354"/>
                  <a:pt x="8" y="354"/>
                  <a:pt x="8" y="354"/>
                </a:cubicBezTo>
                <a:cubicBezTo>
                  <a:pt x="8" y="354"/>
                  <a:pt x="8" y="354"/>
                  <a:pt x="8" y="354"/>
                </a:cubicBezTo>
                <a:cubicBezTo>
                  <a:pt x="8" y="356"/>
                  <a:pt x="8" y="356"/>
                  <a:pt x="8" y="356"/>
                </a:cubicBezTo>
                <a:cubicBezTo>
                  <a:pt x="8" y="358"/>
                  <a:pt x="8" y="358"/>
                  <a:pt x="8" y="358"/>
                </a:cubicBezTo>
                <a:cubicBezTo>
                  <a:pt x="8" y="361"/>
                  <a:pt x="8" y="361"/>
                  <a:pt x="8" y="361"/>
                </a:cubicBezTo>
                <a:cubicBezTo>
                  <a:pt x="8" y="363"/>
                  <a:pt x="8" y="363"/>
                  <a:pt x="8" y="363"/>
                </a:cubicBezTo>
                <a:cubicBezTo>
                  <a:pt x="8" y="365"/>
                  <a:pt x="8" y="365"/>
                  <a:pt x="8" y="365"/>
                </a:cubicBezTo>
                <a:cubicBezTo>
                  <a:pt x="7" y="366"/>
                  <a:pt x="7" y="366"/>
                  <a:pt x="7" y="366"/>
                </a:cubicBezTo>
                <a:cubicBezTo>
                  <a:pt x="7" y="367"/>
                  <a:pt x="7" y="367"/>
                  <a:pt x="7" y="367"/>
                </a:cubicBezTo>
                <a:cubicBezTo>
                  <a:pt x="6" y="368"/>
                  <a:pt x="6" y="368"/>
                  <a:pt x="6" y="368"/>
                </a:cubicBezTo>
                <a:cubicBezTo>
                  <a:pt x="5" y="370"/>
                  <a:pt x="5" y="370"/>
                  <a:pt x="5" y="370"/>
                </a:cubicBezTo>
                <a:cubicBezTo>
                  <a:pt x="4" y="371"/>
                  <a:pt x="4" y="371"/>
                  <a:pt x="4" y="371"/>
                </a:cubicBezTo>
                <a:cubicBezTo>
                  <a:pt x="4" y="371"/>
                  <a:pt x="4" y="371"/>
                  <a:pt x="4" y="371"/>
                </a:cubicBezTo>
                <a:cubicBezTo>
                  <a:pt x="3" y="373"/>
                  <a:pt x="3" y="373"/>
                  <a:pt x="3" y="373"/>
                </a:cubicBezTo>
                <a:cubicBezTo>
                  <a:pt x="2" y="375"/>
                  <a:pt x="2" y="375"/>
                  <a:pt x="2" y="375"/>
                </a:cubicBezTo>
                <a:cubicBezTo>
                  <a:pt x="2" y="375"/>
                  <a:pt x="2" y="375"/>
                  <a:pt x="2" y="375"/>
                </a:cubicBezTo>
                <a:cubicBezTo>
                  <a:pt x="1" y="376"/>
                  <a:pt x="1" y="376"/>
                  <a:pt x="1" y="376"/>
                </a:cubicBezTo>
                <a:cubicBezTo>
                  <a:pt x="0" y="378"/>
                  <a:pt x="0" y="378"/>
                  <a:pt x="0" y="378"/>
                </a:cubicBezTo>
                <a:cubicBezTo>
                  <a:pt x="7" y="378"/>
                  <a:pt x="14" y="378"/>
                  <a:pt x="22" y="378"/>
                </a:cubicBezTo>
                <a:cubicBezTo>
                  <a:pt x="23" y="378"/>
                  <a:pt x="24" y="378"/>
                  <a:pt x="26" y="378"/>
                </a:cubicBezTo>
                <a:close/>
                <a:moveTo>
                  <a:pt x="23" y="374"/>
                </a:moveTo>
                <a:cubicBezTo>
                  <a:pt x="21" y="374"/>
                  <a:pt x="21" y="374"/>
                  <a:pt x="21" y="374"/>
                </a:cubicBezTo>
                <a:cubicBezTo>
                  <a:pt x="22" y="374"/>
                  <a:pt x="22" y="374"/>
                  <a:pt x="22" y="374"/>
                </a:cubicBezTo>
                <a:cubicBezTo>
                  <a:pt x="24" y="372"/>
                  <a:pt x="24" y="372"/>
                  <a:pt x="24" y="372"/>
                </a:cubicBezTo>
                <a:cubicBezTo>
                  <a:pt x="24" y="372"/>
                  <a:pt x="24" y="372"/>
                  <a:pt x="24" y="372"/>
                </a:cubicBezTo>
                <a:cubicBezTo>
                  <a:pt x="25" y="373"/>
                  <a:pt x="25" y="373"/>
                  <a:pt x="25" y="373"/>
                </a:cubicBezTo>
                <a:cubicBezTo>
                  <a:pt x="25" y="374"/>
                  <a:pt x="25" y="374"/>
                  <a:pt x="25" y="374"/>
                </a:cubicBezTo>
                <a:lnTo>
                  <a:pt x="23" y="374"/>
                </a:lnTo>
                <a:close/>
                <a:moveTo>
                  <a:pt x="20" y="355"/>
                </a:moveTo>
                <a:cubicBezTo>
                  <a:pt x="21" y="355"/>
                  <a:pt x="21" y="355"/>
                  <a:pt x="21" y="355"/>
                </a:cubicBezTo>
                <a:cubicBezTo>
                  <a:pt x="22" y="355"/>
                  <a:pt x="22" y="355"/>
                  <a:pt x="22" y="355"/>
                </a:cubicBezTo>
                <a:cubicBezTo>
                  <a:pt x="22" y="355"/>
                  <a:pt x="22" y="355"/>
                  <a:pt x="22" y="355"/>
                </a:cubicBezTo>
                <a:cubicBezTo>
                  <a:pt x="22" y="355"/>
                  <a:pt x="22" y="355"/>
                  <a:pt x="22" y="355"/>
                </a:cubicBezTo>
                <a:cubicBezTo>
                  <a:pt x="22" y="355"/>
                  <a:pt x="22" y="355"/>
                  <a:pt x="22" y="355"/>
                </a:cubicBezTo>
                <a:cubicBezTo>
                  <a:pt x="21" y="356"/>
                  <a:pt x="21" y="356"/>
                  <a:pt x="21" y="356"/>
                </a:cubicBezTo>
                <a:cubicBezTo>
                  <a:pt x="20" y="358"/>
                  <a:pt x="20" y="358"/>
                  <a:pt x="20" y="358"/>
                </a:cubicBezTo>
                <a:cubicBezTo>
                  <a:pt x="20" y="358"/>
                  <a:pt x="20" y="358"/>
                  <a:pt x="20" y="358"/>
                </a:cubicBezTo>
                <a:cubicBezTo>
                  <a:pt x="20" y="357"/>
                  <a:pt x="20" y="357"/>
                  <a:pt x="20" y="357"/>
                </a:cubicBezTo>
                <a:cubicBezTo>
                  <a:pt x="18" y="355"/>
                  <a:pt x="18" y="355"/>
                  <a:pt x="18" y="355"/>
                </a:cubicBezTo>
                <a:lnTo>
                  <a:pt x="20" y="355"/>
                </a:lnTo>
                <a:close/>
                <a:moveTo>
                  <a:pt x="18" y="349"/>
                </a:moveTo>
                <a:cubicBezTo>
                  <a:pt x="18" y="349"/>
                  <a:pt x="18" y="349"/>
                  <a:pt x="18" y="349"/>
                </a:cubicBezTo>
                <a:cubicBezTo>
                  <a:pt x="17" y="349"/>
                  <a:pt x="17" y="349"/>
                  <a:pt x="17" y="349"/>
                </a:cubicBezTo>
                <a:cubicBezTo>
                  <a:pt x="17" y="349"/>
                  <a:pt x="17" y="349"/>
                  <a:pt x="17" y="349"/>
                </a:cubicBezTo>
                <a:cubicBezTo>
                  <a:pt x="17" y="348"/>
                  <a:pt x="17" y="348"/>
                  <a:pt x="17" y="348"/>
                </a:cubicBezTo>
                <a:cubicBezTo>
                  <a:pt x="17" y="348"/>
                  <a:pt x="17" y="348"/>
                  <a:pt x="17" y="348"/>
                </a:cubicBezTo>
                <a:cubicBezTo>
                  <a:pt x="17" y="346"/>
                  <a:pt x="17" y="346"/>
                  <a:pt x="17" y="346"/>
                </a:cubicBezTo>
                <a:cubicBezTo>
                  <a:pt x="19" y="348"/>
                  <a:pt x="19" y="348"/>
                  <a:pt x="19" y="348"/>
                </a:cubicBezTo>
                <a:cubicBezTo>
                  <a:pt x="18" y="348"/>
                  <a:pt x="18" y="348"/>
                  <a:pt x="18" y="348"/>
                </a:cubicBezTo>
                <a:lnTo>
                  <a:pt x="18" y="349"/>
                </a:lnTo>
                <a:close/>
                <a:moveTo>
                  <a:pt x="21" y="349"/>
                </a:moveTo>
                <a:cubicBezTo>
                  <a:pt x="22" y="349"/>
                  <a:pt x="22" y="349"/>
                  <a:pt x="22" y="349"/>
                </a:cubicBezTo>
                <a:cubicBezTo>
                  <a:pt x="23" y="348"/>
                  <a:pt x="23" y="348"/>
                  <a:pt x="23" y="348"/>
                </a:cubicBezTo>
                <a:cubicBezTo>
                  <a:pt x="23" y="348"/>
                  <a:pt x="23" y="348"/>
                  <a:pt x="23" y="348"/>
                </a:cubicBezTo>
                <a:cubicBezTo>
                  <a:pt x="23" y="349"/>
                  <a:pt x="23" y="349"/>
                  <a:pt x="23" y="349"/>
                </a:cubicBezTo>
                <a:cubicBezTo>
                  <a:pt x="23" y="349"/>
                  <a:pt x="23" y="349"/>
                  <a:pt x="23" y="349"/>
                </a:cubicBezTo>
                <a:cubicBezTo>
                  <a:pt x="23" y="351"/>
                  <a:pt x="23" y="351"/>
                  <a:pt x="23" y="351"/>
                </a:cubicBezTo>
                <a:lnTo>
                  <a:pt x="21" y="349"/>
                </a:lnTo>
                <a:close/>
                <a:moveTo>
                  <a:pt x="23" y="368"/>
                </a:moveTo>
                <a:cubicBezTo>
                  <a:pt x="24" y="367"/>
                  <a:pt x="24" y="367"/>
                  <a:pt x="24" y="367"/>
                </a:cubicBezTo>
                <a:cubicBezTo>
                  <a:pt x="24" y="368"/>
                  <a:pt x="24" y="368"/>
                  <a:pt x="24" y="368"/>
                </a:cubicBezTo>
                <a:cubicBezTo>
                  <a:pt x="24" y="370"/>
                  <a:pt x="24" y="370"/>
                  <a:pt x="24" y="370"/>
                </a:cubicBezTo>
                <a:cubicBezTo>
                  <a:pt x="23" y="370"/>
                  <a:pt x="23" y="370"/>
                  <a:pt x="23" y="370"/>
                </a:cubicBezTo>
                <a:cubicBezTo>
                  <a:pt x="22" y="371"/>
                  <a:pt x="22" y="371"/>
                  <a:pt x="22" y="371"/>
                </a:cubicBezTo>
                <a:cubicBezTo>
                  <a:pt x="21" y="372"/>
                  <a:pt x="21" y="372"/>
                  <a:pt x="21" y="372"/>
                </a:cubicBezTo>
                <a:cubicBezTo>
                  <a:pt x="22" y="371"/>
                  <a:pt x="22" y="371"/>
                  <a:pt x="22" y="371"/>
                </a:cubicBezTo>
                <a:cubicBezTo>
                  <a:pt x="22" y="370"/>
                  <a:pt x="22" y="370"/>
                  <a:pt x="22" y="370"/>
                </a:cubicBezTo>
                <a:lnTo>
                  <a:pt x="23" y="368"/>
                </a:lnTo>
                <a:close/>
                <a:moveTo>
                  <a:pt x="25" y="357"/>
                </a:moveTo>
                <a:cubicBezTo>
                  <a:pt x="26" y="358"/>
                  <a:pt x="26" y="358"/>
                  <a:pt x="26" y="358"/>
                </a:cubicBezTo>
                <a:cubicBezTo>
                  <a:pt x="27" y="359"/>
                  <a:pt x="27" y="359"/>
                  <a:pt x="27" y="359"/>
                </a:cubicBezTo>
                <a:cubicBezTo>
                  <a:pt x="26" y="359"/>
                  <a:pt x="26" y="359"/>
                  <a:pt x="26" y="359"/>
                </a:cubicBezTo>
                <a:cubicBezTo>
                  <a:pt x="26" y="360"/>
                  <a:pt x="26" y="360"/>
                  <a:pt x="26" y="360"/>
                </a:cubicBezTo>
                <a:cubicBezTo>
                  <a:pt x="26" y="361"/>
                  <a:pt x="26" y="361"/>
                  <a:pt x="26" y="361"/>
                </a:cubicBezTo>
                <a:cubicBezTo>
                  <a:pt x="25" y="362"/>
                  <a:pt x="25" y="362"/>
                  <a:pt x="25" y="362"/>
                </a:cubicBezTo>
                <a:cubicBezTo>
                  <a:pt x="25" y="360"/>
                  <a:pt x="25" y="360"/>
                  <a:pt x="25" y="360"/>
                </a:cubicBezTo>
                <a:cubicBezTo>
                  <a:pt x="25" y="358"/>
                  <a:pt x="25" y="358"/>
                  <a:pt x="25" y="358"/>
                </a:cubicBezTo>
                <a:cubicBezTo>
                  <a:pt x="25" y="358"/>
                  <a:pt x="25" y="358"/>
                  <a:pt x="25" y="358"/>
                </a:cubicBezTo>
                <a:cubicBezTo>
                  <a:pt x="25" y="357"/>
                  <a:pt x="25" y="357"/>
                  <a:pt x="25" y="357"/>
                </a:cubicBezTo>
                <a:close/>
                <a:moveTo>
                  <a:pt x="26" y="368"/>
                </a:moveTo>
                <a:cubicBezTo>
                  <a:pt x="25" y="366"/>
                  <a:pt x="25" y="366"/>
                  <a:pt x="25" y="366"/>
                </a:cubicBezTo>
                <a:cubicBezTo>
                  <a:pt x="28" y="365"/>
                  <a:pt x="28" y="365"/>
                  <a:pt x="28" y="365"/>
                </a:cubicBezTo>
                <a:cubicBezTo>
                  <a:pt x="29" y="365"/>
                  <a:pt x="29" y="365"/>
                  <a:pt x="29" y="365"/>
                </a:cubicBezTo>
                <a:cubicBezTo>
                  <a:pt x="29" y="365"/>
                  <a:pt x="29" y="365"/>
                  <a:pt x="29" y="365"/>
                </a:cubicBezTo>
                <a:cubicBezTo>
                  <a:pt x="29" y="365"/>
                  <a:pt x="29" y="365"/>
                  <a:pt x="29" y="365"/>
                </a:cubicBezTo>
                <a:cubicBezTo>
                  <a:pt x="28" y="366"/>
                  <a:pt x="28" y="366"/>
                  <a:pt x="28" y="366"/>
                </a:cubicBezTo>
                <a:lnTo>
                  <a:pt x="26" y="368"/>
                </a:lnTo>
                <a:close/>
                <a:moveTo>
                  <a:pt x="29" y="359"/>
                </a:moveTo>
                <a:cubicBezTo>
                  <a:pt x="29" y="359"/>
                  <a:pt x="29" y="359"/>
                  <a:pt x="29" y="359"/>
                </a:cubicBezTo>
                <a:cubicBezTo>
                  <a:pt x="29" y="359"/>
                  <a:pt x="29" y="359"/>
                  <a:pt x="29" y="359"/>
                </a:cubicBezTo>
                <a:cubicBezTo>
                  <a:pt x="30" y="358"/>
                  <a:pt x="30" y="358"/>
                  <a:pt x="30" y="358"/>
                </a:cubicBezTo>
                <a:cubicBezTo>
                  <a:pt x="30" y="357"/>
                  <a:pt x="30" y="357"/>
                  <a:pt x="30" y="357"/>
                </a:cubicBezTo>
                <a:cubicBezTo>
                  <a:pt x="31" y="359"/>
                  <a:pt x="31" y="359"/>
                  <a:pt x="31" y="359"/>
                </a:cubicBezTo>
                <a:cubicBezTo>
                  <a:pt x="31" y="360"/>
                  <a:pt x="31" y="360"/>
                  <a:pt x="31" y="360"/>
                </a:cubicBezTo>
                <a:cubicBezTo>
                  <a:pt x="31" y="360"/>
                  <a:pt x="31" y="360"/>
                  <a:pt x="31" y="360"/>
                </a:cubicBezTo>
                <a:cubicBezTo>
                  <a:pt x="31" y="361"/>
                  <a:pt x="31" y="361"/>
                  <a:pt x="31" y="361"/>
                </a:cubicBezTo>
                <a:cubicBezTo>
                  <a:pt x="31" y="362"/>
                  <a:pt x="31" y="362"/>
                  <a:pt x="31" y="362"/>
                </a:cubicBezTo>
                <a:cubicBezTo>
                  <a:pt x="29" y="360"/>
                  <a:pt x="29" y="360"/>
                  <a:pt x="29" y="360"/>
                </a:cubicBezTo>
                <a:lnTo>
                  <a:pt x="29" y="359"/>
                </a:lnTo>
                <a:close/>
                <a:moveTo>
                  <a:pt x="28" y="370"/>
                </a:moveTo>
                <a:cubicBezTo>
                  <a:pt x="27" y="371"/>
                  <a:pt x="27" y="371"/>
                  <a:pt x="27" y="371"/>
                </a:cubicBezTo>
                <a:cubicBezTo>
                  <a:pt x="27" y="372"/>
                  <a:pt x="27" y="372"/>
                  <a:pt x="27" y="372"/>
                </a:cubicBezTo>
                <a:cubicBezTo>
                  <a:pt x="26" y="370"/>
                  <a:pt x="26" y="370"/>
                  <a:pt x="26" y="370"/>
                </a:cubicBezTo>
                <a:cubicBezTo>
                  <a:pt x="26" y="370"/>
                  <a:pt x="26" y="370"/>
                  <a:pt x="26" y="370"/>
                </a:cubicBezTo>
                <a:cubicBezTo>
                  <a:pt x="27" y="370"/>
                  <a:pt x="27" y="370"/>
                  <a:pt x="27" y="370"/>
                </a:cubicBezTo>
                <a:cubicBezTo>
                  <a:pt x="29" y="368"/>
                  <a:pt x="29" y="368"/>
                  <a:pt x="29" y="368"/>
                </a:cubicBezTo>
                <a:lnTo>
                  <a:pt x="28" y="370"/>
                </a:lnTo>
                <a:close/>
                <a:moveTo>
                  <a:pt x="32" y="374"/>
                </a:moveTo>
                <a:cubicBezTo>
                  <a:pt x="30" y="374"/>
                  <a:pt x="30" y="374"/>
                  <a:pt x="30" y="374"/>
                </a:cubicBezTo>
                <a:cubicBezTo>
                  <a:pt x="29" y="374"/>
                  <a:pt x="29" y="374"/>
                  <a:pt x="29" y="374"/>
                </a:cubicBezTo>
                <a:cubicBezTo>
                  <a:pt x="30" y="374"/>
                  <a:pt x="30" y="374"/>
                  <a:pt x="30" y="374"/>
                </a:cubicBezTo>
                <a:cubicBezTo>
                  <a:pt x="31" y="373"/>
                  <a:pt x="31" y="373"/>
                  <a:pt x="31" y="373"/>
                </a:cubicBezTo>
                <a:cubicBezTo>
                  <a:pt x="32" y="371"/>
                  <a:pt x="32" y="371"/>
                  <a:pt x="32" y="371"/>
                </a:cubicBezTo>
                <a:cubicBezTo>
                  <a:pt x="33" y="374"/>
                  <a:pt x="33" y="374"/>
                  <a:pt x="33" y="374"/>
                </a:cubicBezTo>
                <a:lnTo>
                  <a:pt x="32" y="374"/>
                </a:lnTo>
                <a:close/>
                <a:moveTo>
                  <a:pt x="36" y="353"/>
                </a:moveTo>
                <a:cubicBezTo>
                  <a:pt x="34" y="353"/>
                  <a:pt x="34" y="353"/>
                  <a:pt x="34" y="353"/>
                </a:cubicBezTo>
                <a:cubicBezTo>
                  <a:pt x="33" y="353"/>
                  <a:pt x="33" y="353"/>
                  <a:pt x="33" y="353"/>
                </a:cubicBezTo>
                <a:cubicBezTo>
                  <a:pt x="33" y="353"/>
                  <a:pt x="33" y="353"/>
                  <a:pt x="33" y="353"/>
                </a:cubicBezTo>
                <a:cubicBezTo>
                  <a:pt x="33" y="353"/>
                  <a:pt x="33" y="353"/>
                  <a:pt x="33" y="353"/>
                </a:cubicBezTo>
                <a:cubicBezTo>
                  <a:pt x="34" y="352"/>
                  <a:pt x="34" y="352"/>
                  <a:pt x="34" y="352"/>
                </a:cubicBezTo>
                <a:cubicBezTo>
                  <a:pt x="34" y="351"/>
                  <a:pt x="34" y="351"/>
                  <a:pt x="34" y="351"/>
                </a:cubicBezTo>
                <a:cubicBezTo>
                  <a:pt x="35" y="350"/>
                  <a:pt x="35" y="350"/>
                  <a:pt x="35" y="350"/>
                </a:cubicBezTo>
                <a:cubicBezTo>
                  <a:pt x="35" y="350"/>
                  <a:pt x="35" y="350"/>
                  <a:pt x="35" y="350"/>
                </a:cubicBezTo>
                <a:cubicBezTo>
                  <a:pt x="36" y="351"/>
                  <a:pt x="36" y="351"/>
                  <a:pt x="36" y="351"/>
                </a:cubicBezTo>
                <a:cubicBezTo>
                  <a:pt x="37" y="353"/>
                  <a:pt x="37" y="353"/>
                  <a:pt x="37" y="353"/>
                </a:cubicBezTo>
                <a:lnTo>
                  <a:pt x="36" y="353"/>
                </a:lnTo>
                <a:close/>
                <a:moveTo>
                  <a:pt x="37" y="355"/>
                </a:moveTo>
                <a:cubicBezTo>
                  <a:pt x="37" y="355"/>
                  <a:pt x="37" y="355"/>
                  <a:pt x="37" y="355"/>
                </a:cubicBezTo>
                <a:cubicBezTo>
                  <a:pt x="36" y="356"/>
                  <a:pt x="36" y="356"/>
                  <a:pt x="36" y="356"/>
                </a:cubicBezTo>
                <a:cubicBezTo>
                  <a:pt x="36" y="356"/>
                  <a:pt x="36" y="356"/>
                  <a:pt x="36" y="356"/>
                </a:cubicBezTo>
                <a:cubicBezTo>
                  <a:pt x="36" y="357"/>
                  <a:pt x="36" y="357"/>
                  <a:pt x="36" y="357"/>
                </a:cubicBezTo>
                <a:cubicBezTo>
                  <a:pt x="35" y="357"/>
                  <a:pt x="35" y="357"/>
                  <a:pt x="35" y="357"/>
                </a:cubicBezTo>
                <a:cubicBezTo>
                  <a:pt x="33" y="355"/>
                  <a:pt x="33" y="355"/>
                  <a:pt x="33" y="355"/>
                </a:cubicBezTo>
                <a:cubicBezTo>
                  <a:pt x="34" y="355"/>
                  <a:pt x="34" y="355"/>
                  <a:pt x="34" y="355"/>
                </a:cubicBezTo>
                <a:cubicBezTo>
                  <a:pt x="35" y="355"/>
                  <a:pt x="35" y="355"/>
                  <a:pt x="35" y="355"/>
                </a:cubicBezTo>
                <a:cubicBezTo>
                  <a:pt x="35" y="355"/>
                  <a:pt x="35" y="355"/>
                  <a:pt x="35" y="355"/>
                </a:cubicBezTo>
                <a:cubicBezTo>
                  <a:pt x="36" y="355"/>
                  <a:pt x="36" y="355"/>
                  <a:pt x="36" y="355"/>
                </a:cubicBezTo>
                <a:lnTo>
                  <a:pt x="37" y="355"/>
                </a:lnTo>
                <a:close/>
                <a:moveTo>
                  <a:pt x="36" y="345"/>
                </a:moveTo>
                <a:cubicBezTo>
                  <a:pt x="36" y="345"/>
                  <a:pt x="36" y="345"/>
                  <a:pt x="36" y="345"/>
                </a:cubicBezTo>
                <a:cubicBezTo>
                  <a:pt x="35" y="347"/>
                  <a:pt x="35" y="347"/>
                  <a:pt x="35" y="347"/>
                </a:cubicBezTo>
                <a:cubicBezTo>
                  <a:pt x="35" y="347"/>
                  <a:pt x="35" y="347"/>
                  <a:pt x="35" y="347"/>
                </a:cubicBezTo>
                <a:cubicBezTo>
                  <a:pt x="33" y="344"/>
                  <a:pt x="33" y="344"/>
                  <a:pt x="33" y="344"/>
                </a:cubicBezTo>
                <a:cubicBezTo>
                  <a:pt x="34" y="344"/>
                  <a:pt x="34" y="344"/>
                  <a:pt x="34" y="344"/>
                </a:cubicBezTo>
                <a:cubicBezTo>
                  <a:pt x="35" y="344"/>
                  <a:pt x="35" y="344"/>
                  <a:pt x="35" y="344"/>
                </a:cubicBezTo>
                <a:cubicBezTo>
                  <a:pt x="36" y="344"/>
                  <a:pt x="36" y="344"/>
                  <a:pt x="36" y="344"/>
                </a:cubicBezTo>
                <a:cubicBezTo>
                  <a:pt x="37" y="344"/>
                  <a:pt x="37" y="344"/>
                  <a:pt x="37" y="344"/>
                </a:cubicBezTo>
                <a:cubicBezTo>
                  <a:pt x="37" y="345"/>
                  <a:pt x="37" y="345"/>
                  <a:pt x="37" y="345"/>
                </a:cubicBezTo>
                <a:lnTo>
                  <a:pt x="36" y="345"/>
                </a:lnTo>
                <a:close/>
                <a:moveTo>
                  <a:pt x="36" y="363"/>
                </a:moveTo>
                <a:cubicBezTo>
                  <a:pt x="34" y="364"/>
                  <a:pt x="34" y="364"/>
                  <a:pt x="34" y="364"/>
                </a:cubicBezTo>
                <a:cubicBezTo>
                  <a:pt x="34" y="364"/>
                  <a:pt x="34" y="364"/>
                  <a:pt x="34" y="364"/>
                </a:cubicBezTo>
                <a:cubicBezTo>
                  <a:pt x="33" y="364"/>
                  <a:pt x="33" y="364"/>
                  <a:pt x="33" y="364"/>
                </a:cubicBezTo>
                <a:cubicBezTo>
                  <a:pt x="33" y="364"/>
                  <a:pt x="33" y="364"/>
                  <a:pt x="33" y="364"/>
                </a:cubicBezTo>
                <a:cubicBezTo>
                  <a:pt x="33" y="363"/>
                  <a:pt x="33" y="363"/>
                  <a:pt x="33" y="363"/>
                </a:cubicBezTo>
                <a:cubicBezTo>
                  <a:pt x="34" y="363"/>
                  <a:pt x="34" y="363"/>
                  <a:pt x="34" y="363"/>
                </a:cubicBezTo>
                <a:cubicBezTo>
                  <a:pt x="34" y="363"/>
                  <a:pt x="34" y="363"/>
                  <a:pt x="34" y="363"/>
                </a:cubicBezTo>
                <a:cubicBezTo>
                  <a:pt x="34" y="362"/>
                  <a:pt x="34" y="362"/>
                  <a:pt x="34" y="362"/>
                </a:cubicBezTo>
                <a:cubicBezTo>
                  <a:pt x="35" y="361"/>
                  <a:pt x="35" y="361"/>
                  <a:pt x="35" y="361"/>
                </a:cubicBezTo>
                <a:cubicBezTo>
                  <a:pt x="35" y="361"/>
                  <a:pt x="35" y="361"/>
                  <a:pt x="35" y="361"/>
                </a:cubicBezTo>
                <a:cubicBezTo>
                  <a:pt x="36" y="361"/>
                  <a:pt x="36" y="361"/>
                  <a:pt x="36" y="361"/>
                </a:cubicBezTo>
                <a:cubicBezTo>
                  <a:pt x="37" y="363"/>
                  <a:pt x="37" y="363"/>
                  <a:pt x="37" y="363"/>
                </a:cubicBezTo>
                <a:lnTo>
                  <a:pt x="36" y="363"/>
                </a:lnTo>
                <a:close/>
                <a:moveTo>
                  <a:pt x="37" y="348"/>
                </a:moveTo>
                <a:cubicBezTo>
                  <a:pt x="37" y="347"/>
                  <a:pt x="37" y="347"/>
                  <a:pt x="37" y="347"/>
                </a:cubicBezTo>
                <a:cubicBezTo>
                  <a:pt x="38" y="346"/>
                  <a:pt x="38" y="346"/>
                  <a:pt x="38" y="346"/>
                </a:cubicBezTo>
                <a:cubicBezTo>
                  <a:pt x="38" y="346"/>
                  <a:pt x="38" y="346"/>
                  <a:pt x="38" y="346"/>
                </a:cubicBezTo>
                <a:cubicBezTo>
                  <a:pt x="38" y="346"/>
                  <a:pt x="38" y="346"/>
                  <a:pt x="38" y="346"/>
                </a:cubicBezTo>
                <a:cubicBezTo>
                  <a:pt x="38" y="347"/>
                  <a:pt x="38" y="347"/>
                  <a:pt x="38" y="347"/>
                </a:cubicBezTo>
                <a:cubicBezTo>
                  <a:pt x="38" y="349"/>
                  <a:pt x="38" y="349"/>
                  <a:pt x="38" y="349"/>
                </a:cubicBezTo>
                <a:lnTo>
                  <a:pt x="37" y="348"/>
                </a:lnTo>
                <a:close/>
                <a:moveTo>
                  <a:pt x="39" y="338"/>
                </a:moveTo>
                <a:cubicBezTo>
                  <a:pt x="38" y="339"/>
                  <a:pt x="38" y="339"/>
                  <a:pt x="38" y="339"/>
                </a:cubicBezTo>
                <a:cubicBezTo>
                  <a:pt x="37" y="339"/>
                  <a:pt x="37" y="339"/>
                  <a:pt x="37" y="339"/>
                </a:cubicBezTo>
                <a:cubicBezTo>
                  <a:pt x="36" y="340"/>
                  <a:pt x="36" y="340"/>
                  <a:pt x="36" y="340"/>
                </a:cubicBezTo>
                <a:cubicBezTo>
                  <a:pt x="35" y="341"/>
                  <a:pt x="35" y="341"/>
                  <a:pt x="35" y="341"/>
                </a:cubicBezTo>
                <a:cubicBezTo>
                  <a:pt x="34" y="341"/>
                  <a:pt x="34" y="341"/>
                  <a:pt x="34" y="341"/>
                </a:cubicBezTo>
                <a:cubicBezTo>
                  <a:pt x="33" y="341"/>
                  <a:pt x="33" y="341"/>
                  <a:pt x="33" y="341"/>
                </a:cubicBezTo>
                <a:cubicBezTo>
                  <a:pt x="32" y="342"/>
                  <a:pt x="32" y="342"/>
                  <a:pt x="32" y="342"/>
                </a:cubicBezTo>
                <a:cubicBezTo>
                  <a:pt x="32" y="342"/>
                  <a:pt x="32" y="342"/>
                  <a:pt x="32" y="342"/>
                </a:cubicBezTo>
                <a:cubicBezTo>
                  <a:pt x="31" y="342"/>
                  <a:pt x="31" y="342"/>
                  <a:pt x="31" y="342"/>
                </a:cubicBezTo>
                <a:cubicBezTo>
                  <a:pt x="29" y="342"/>
                  <a:pt x="29" y="342"/>
                  <a:pt x="29" y="342"/>
                </a:cubicBezTo>
                <a:cubicBezTo>
                  <a:pt x="26" y="340"/>
                  <a:pt x="26" y="340"/>
                  <a:pt x="26" y="340"/>
                </a:cubicBezTo>
                <a:cubicBezTo>
                  <a:pt x="22" y="337"/>
                  <a:pt x="22" y="337"/>
                  <a:pt x="22" y="337"/>
                </a:cubicBezTo>
                <a:cubicBezTo>
                  <a:pt x="21" y="337"/>
                  <a:pt x="21" y="337"/>
                  <a:pt x="21" y="337"/>
                </a:cubicBezTo>
                <a:cubicBezTo>
                  <a:pt x="21" y="337"/>
                  <a:pt x="21" y="337"/>
                  <a:pt x="21" y="337"/>
                </a:cubicBezTo>
                <a:cubicBezTo>
                  <a:pt x="22" y="337"/>
                  <a:pt x="22" y="337"/>
                  <a:pt x="22" y="337"/>
                </a:cubicBezTo>
                <a:cubicBezTo>
                  <a:pt x="26" y="337"/>
                  <a:pt x="26" y="337"/>
                  <a:pt x="26" y="337"/>
                </a:cubicBezTo>
                <a:cubicBezTo>
                  <a:pt x="27" y="337"/>
                  <a:pt x="27" y="337"/>
                  <a:pt x="27" y="337"/>
                </a:cubicBezTo>
                <a:cubicBezTo>
                  <a:pt x="28" y="337"/>
                  <a:pt x="28" y="337"/>
                  <a:pt x="28" y="337"/>
                </a:cubicBezTo>
                <a:cubicBezTo>
                  <a:pt x="29" y="336"/>
                  <a:pt x="29" y="336"/>
                  <a:pt x="29" y="336"/>
                </a:cubicBezTo>
                <a:cubicBezTo>
                  <a:pt x="30" y="336"/>
                  <a:pt x="30" y="336"/>
                  <a:pt x="30" y="336"/>
                </a:cubicBezTo>
                <a:cubicBezTo>
                  <a:pt x="32" y="336"/>
                  <a:pt x="32" y="336"/>
                  <a:pt x="32" y="336"/>
                </a:cubicBezTo>
                <a:cubicBezTo>
                  <a:pt x="34" y="336"/>
                  <a:pt x="34" y="336"/>
                  <a:pt x="34" y="336"/>
                </a:cubicBezTo>
                <a:cubicBezTo>
                  <a:pt x="35" y="336"/>
                  <a:pt x="35" y="336"/>
                  <a:pt x="35" y="336"/>
                </a:cubicBezTo>
                <a:cubicBezTo>
                  <a:pt x="37" y="336"/>
                  <a:pt x="37" y="336"/>
                  <a:pt x="37" y="336"/>
                </a:cubicBezTo>
                <a:cubicBezTo>
                  <a:pt x="38" y="336"/>
                  <a:pt x="38" y="336"/>
                  <a:pt x="38" y="336"/>
                </a:cubicBezTo>
                <a:cubicBezTo>
                  <a:pt x="39" y="336"/>
                  <a:pt x="39" y="336"/>
                  <a:pt x="39" y="336"/>
                </a:cubicBezTo>
                <a:cubicBezTo>
                  <a:pt x="40" y="336"/>
                  <a:pt x="40" y="336"/>
                  <a:pt x="40" y="336"/>
                </a:cubicBezTo>
                <a:cubicBezTo>
                  <a:pt x="40" y="336"/>
                  <a:pt x="40" y="336"/>
                  <a:pt x="40" y="336"/>
                </a:cubicBezTo>
                <a:cubicBezTo>
                  <a:pt x="42" y="336"/>
                  <a:pt x="42" y="336"/>
                  <a:pt x="42" y="336"/>
                </a:cubicBezTo>
                <a:cubicBezTo>
                  <a:pt x="43" y="336"/>
                  <a:pt x="43" y="336"/>
                  <a:pt x="43" y="336"/>
                </a:cubicBezTo>
                <a:cubicBezTo>
                  <a:pt x="43" y="336"/>
                  <a:pt x="43" y="336"/>
                  <a:pt x="43" y="336"/>
                </a:cubicBezTo>
                <a:cubicBezTo>
                  <a:pt x="43" y="336"/>
                  <a:pt x="43" y="336"/>
                  <a:pt x="43" y="336"/>
                </a:cubicBezTo>
                <a:cubicBezTo>
                  <a:pt x="42" y="337"/>
                  <a:pt x="42" y="337"/>
                  <a:pt x="42" y="337"/>
                </a:cubicBezTo>
                <a:cubicBezTo>
                  <a:pt x="41" y="337"/>
                  <a:pt x="41" y="337"/>
                  <a:pt x="41" y="337"/>
                </a:cubicBezTo>
                <a:cubicBezTo>
                  <a:pt x="41" y="337"/>
                  <a:pt x="41" y="337"/>
                  <a:pt x="41" y="337"/>
                </a:cubicBezTo>
                <a:cubicBezTo>
                  <a:pt x="40" y="338"/>
                  <a:pt x="40" y="338"/>
                  <a:pt x="40" y="338"/>
                </a:cubicBezTo>
                <a:cubicBezTo>
                  <a:pt x="40" y="338"/>
                  <a:pt x="40" y="338"/>
                  <a:pt x="40" y="338"/>
                </a:cubicBezTo>
                <a:lnTo>
                  <a:pt x="39" y="338"/>
                </a:lnTo>
                <a:close/>
                <a:moveTo>
                  <a:pt x="50" y="274"/>
                </a:moveTo>
                <a:cubicBezTo>
                  <a:pt x="48" y="270"/>
                  <a:pt x="48" y="270"/>
                  <a:pt x="48" y="270"/>
                </a:cubicBezTo>
                <a:cubicBezTo>
                  <a:pt x="49" y="270"/>
                  <a:pt x="49" y="270"/>
                  <a:pt x="49" y="270"/>
                </a:cubicBezTo>
                <a:cubicBezTo>
                  <a:pt x="51" y="270"/>
                  <a:pt x="51" y="270"/>
                  <a:pt x="51" y="270"/>
                </a:cubicBezTo>
                <a:cubicBezTo>
                  <a:pt x="54" y="270"/>
                  <a:pt x="54" y="270"/>
                  <a:pt x="54" y="270"/>
                </a:cubicBezTo>
                <a:cubicBezTo>
                  <a:pt x="52" y="272"/>
                  <a:pt x="52" y="272"/>
                  <a:pt x="52" y="272"/>
                </a:cubicBezTo>
                <a:cubicBezTo>
                  <a:pt x="51" y="273"/>
                  <a:pt x="51" y="273"/>
                  <a:pt x="51" y="273"/>
                </a:cubicBezTo>
                <a:lnTo>
                  <a:pt x="50" y="274"/>
                </a:lnTo>
                <a:close/>
                <a:moveTo>
                  <a:pt x="53" y="281"/>
                </a:moveTo>
                <a:cubicBezTo>
                  <a:pt x="51" y="281"/>
                  <a:pt x="51" y="281"/>
                  <a:pt x="51" y="281"/>
                </a:cubicBezTo>
                <a:cubicBezTo>
                  <a:pt x="49" y="281"/>
                  <a:pt x="49" y="281"/>
                  <a:pt x="49" y="281"/>
                </a:cubicBezTo>
                <a:cubicBezTo>
                  <a:pt x="47" y="281"/>
                  <a:pt x="47" y="281"/>
                  <a:pt x="47" y="281"/>
                </a:cubicBezTo>
                <a:cubicBezTo>
                  <a:pt x="48" y="280"/>
                  <a:pt x="48" y="280"/>
                  <a:pt x="48" y="280"/>
                </a:cubicBezTo>
                <a:cubicBezTo>
                  <a:pt x="49" y="279"/>
                  <a:pt x="49" y="279"/>
                  <a:pt x="49" y="279"/>
                </a:cubicBezTo>
                <a:cubicBezTo>
                  <a:pt x="50" y="277"/>
                  <a:pt x="50" y="277"/>
                  <a:pt x="50" y="277"/>
                </a:cubicBezTo>
                <a:lnTo>
                  <a:pt x="53" y="281"/>
                </a:lnTo>
                <a:close/>
                <a:moveTo>
                  <a:pt x="48" y="274"/>
                </a:moveTo>
                <a:cubicBezTo>
                  <a:pt x="49" y="275"/>
                  <a:pt x="49" y="275"/>
                  <a:pt x="49" y="275"/>
                </a:cubicBezTo>
                <a:cubicBezTo>
                  <a:pt x="49" y="275"/>
                  <a:pt x="49" y="275"/>
                  <a:pt x="49" y="275"/>
                </a:cubicBezTo>
                <a:cubicBezTo>
                  <a:pt x="47" y="277"/>
                  <a:pt x="47" y="277"/>
                  <a:pt x="47" y="277"/>
                </a:cubicBezTo>
                <a:cubicBezTo>
                  <a:pt x="46" y="278"/>
                  <a:pt x="46" y="278"/>
                  <a:pt x="46" y="278"/>
                </a:cubicBezTo>
                <a:cubicBezTo>
                  <a:pt x="45" y="280"/>
                  <a:pt x="45" y="280"/>
                  <a:pt x="45" y="280"/>
                </a:cubicBezTo>
                <a:cubicBezTo>
                  <a:pt x="45" y="280"/>
                  <a:pt x="45" y="280"/>
                  <a:pt x="45" y="280"/>
                </a:cubicBezTo>
                <a:cubicBezTo>
                  <a:pt x="45" y="280"/>
                  <a:pt x="45" y="280"/>
                  <a:pt x="45" y="280"/>
                </a:cubicBezTo>
                <a:cubicBezTo>
                  <a:pt x="42" y="276"/>
                  <a:pt x="42" y="276"/>
                  <a:pt x="42" y="276"/>
                </a:cubicBezTo>
                <a:cubicBezTo>
                  <a:pt x="43" y="275"/>
                  <a:pt x="43" y="275"/>
                  <a:pt x="43" y="275"/>
                </a:cubicBezTo>
                <a:cubicBezTo>
                  <a:pt x="44" y="274"/>
                  <a:pt x="44" y="274"/>
                  <a:pt x="44" y="274"/>
                </a:cubicBezTo>
                <a:cubicBezTo>
                  <a:pt x="45" y="272"/>
                  <a:pt x="45" y="272"/>
                  <a:pt x="45" y="272"/>
                </a:cubicBezTo>
                <a:cubicBezTo>
                  <a:pt x="46" y="271"/>
                  <a:pt x="46" y="271"/>
                  <a:pt x="46" y="271"/>
                </a:cubicBezTo>
                <a:cubicBezTo>
                  <a:pt x="46" y="271"/>
                  <a:pt x="46" y="271"/>
                  <a:pt x="46" y="271"/>
                </a:cubicBezTo>
                <a:lnTo>
                  <a:pt x="48" y="274"/>
                </a:lnTo>
                <a:close/>
                <a:moveTo>
                  <a:pt x="44" y="271"/>
                </a:moveTo>
                <a:cubicBezTo>
                  <a:pt x="42" y="273"/>
                  <a:pt x="42" y="273"/>
                  <a:pt x="42" y="273"/>
                </a:cubicBezTo>
                <a:cubicBezTo>
                  <a:pt x="41" y="274"/>
                  <a:pt x="41" y="274"/>
                  <a:pt x="41" y="274"/>
                </a:cubicBezTo>
                <a:cubicBezTo>
                  <a:pt x="40" y="270"/>
                  <a:pt x="40" y="270"/>
                  <a:pt x="40" y="270"/>
                </a:cubicBezTo>
                <a:cubicBezTo>
                  <a:pt x="40" y="270"/>
                  <a:pt x="40" y="270"/>
                  <a:pt x="40" y="270"/>
                </a:cubicBezTo>
                <a:cubicBezTo>
                  <a:pt x="44" y="270"/>
                  <a:pt x="44" y="270"/>
                  <a:pt x="44" y="270"/>
                </a:cubicBezTo>
                <a:cubicBezTo>
                  <a:pt x="44" y="270"/>
                  <a:pt x="44" y="270"/>
                  <a:pt x="44" y="270"/>
                </a:cubicBezTo>
                <a:lnTo>
                  <a:pt x="44" y="271"/>
                </a:lnTo>
                <a:close/>
                <a:moveTo>
                  <a:pt x="42" y="288"/>
                </a:moveTo>
                <a:cubicBezTo>
                  <a:pt x="44" y="288"/>
                  <a:pt x="44" y="288"/>
                  <a:pt x="44" y="288"/>
                </a:cubicBezTo>
                <a:cubicBezTo>
                  <a:pt x="46" y="288"/>
                  <a:pt x="46" y="288"/>
                  <a:pt x="46" y="288"/>
                </a:cubicBezTo>
                <a:cubicBezTo>
                  <a:pt x="47" y="288"/>
                  <a:pt x="47" y="288"/>
                  <a:pt x="47" y="288"/>
                </a:cubicBezTo>
                <a:cubicBezTo>
                  <a:pt x="50" y="288"/>
                  <a:pt x="50" y="288"/>
                  <a:pt x="50" y="288"/>
                </a:cubicBezTo>
                <a:cubicBezTo>
                  <a:pt x="51" y="288"/>
                  <a:pt x="51" y="288"/>
                  <a:pt x="51" y="288"/>
                </a:cubicBezTo>
                <a:cubicBezTo>
                  <a:pt x="51" y="288"/>
                  <a:pt x="51" y="288"/>
                  <a:pt x="51" y="288"/>
                </a:cubicBezTo>
                <a:cubicBezTo>
                  <a:pt x="51" y="288"/>
                  <a:pt x="51" y="288"/>
                  <a:pt x="51" y="288"/>
                </a:cubicBezTo>
                <a:cubicBezTo>
                  <a:pt x="50" y="288"/>
                  <a:pt x="50" y="288"/>
                  <a:pt x="50" y="288"/>
                </a:cubicBezTo>
                <a:cubicBezTo>
                  <a:pt x="49" y="289"/>
                  <a:pt x="49" y="289"/>
                  <a:pt x="49" y="289"/>
                </a:cubicBezTo>
                <a:cubicBezTo>
                  <a:pt x="48" y="290"/>
                  <a:pt x="48" y="290"/>
                  <a:pt x="48" y="290"/>
                </a:cubicBezTo>
                <a:cubicBezTo>
                  <a:pt x="47" y="290"/>
                  <a:pt x="47" y="290"/>
                  <a:pt x="47" y="290"/>
                </a:cubicBezTo>
                <a:cubicBezTo>
                  <a:pt x="46" y="291"/>
                  <a:pt x="46" y="291"/>
                  <a:pt x="46" y="291"/>
                </a:cubicBezTo>
                <a:cubicBezTo>
                  <a:pt x="44" y="292"/>
                  <a:pt x="44" y="292"/>
                  <a:pt x="44" y="292"/>
                </a:cubicBezTo>
                <a:cubicBezTo>
                  <a:pt x="43" y="293"/>
                  <a:pt x="43" y="293"/>
                  <a:pt x="43" y="293"/>
                </a:cubicBezTo>
                <a:cubicBezTo>
                  <a:pt x="42" y="291"/>
                  <a:pt x="42" y="291"/>
                  <a:pt x="42" y="291"/>
                </a:cubicBezTo>
                <a:cubicBezTo>
                  <a:pt x="37" y="288"/>
                  <a:pt x="37" y="288"/>
                  <a:pt x="37" y="288"/>
                </a:cubicBezTo>
                <a:cubicBezTo>
                  <a:pt x="38" y="288"/>
                  <a:pt x="38" y="288"/>
                  <a:pt x="38" y="288"/>
                </a:cubicBezTo>
                <a:cubicBezTo>
                  <a:pt x="40" y="288"/>
                  <a:pt x="40" y="288"/>
                  <a:pt x="40" y="288"/>
                </a:cubicBezTo>
                <a:lnTo>
                  <a:pt x="42" y="288"/>
                </a:lnTo>
                <a:close/>
                <a:moveTo>
                  <a:pt x="43" y="303"/>
                </a:moveTo>
                <a:cubicBezTo>
                  <a:pt x="44" y="303"/>
                  <a:pt x="44" y="303"/>
                  <a:pt x="44" y="303"/>
                </a:cubicBezTo>
                <a:cubicBezTo>
                  <a:pt x="45" y="303"/>
                  <a:pt x="45" y="303"/>
                  <a:pt x="45" y="303"/>
                </a:cubicBezTo>
                <a:cubicBezTo>
                  <a:pt x="46" y="303"/>
                  <a:pt x="46" y="303"/>
                  <a:pt x="46" y="303"/>
                </a:cubicBezTo>
                <a:cubicBezTo>
                  <a:pt x="46" y="303"/>
                  <a:pt x="46" y="303"/>
                  <a:pt x="46" y="303"/>
                </a:cubicBezTo>
                <a:cubicBezTo>
                  <a:pt x="48" y="303"/>
                  <a:pt x="48" y="303"/>
                  <a:pt x="48" y="303"/>
                </a:cubicBezTo>
                <a:cubicBezTo>
                  <a:pt x="49" y="303"/>
                  <a:pt x="49" y="303"/>
                  <a:pt x="49" y="303"/>
                </a:cubicBezTo>
                <a:cubicBezTo>
                  <a:pt x="50" y="303"/>
                  <a:pt x="50" y="303"/>
                  <a:pt x="50" y="303"/>
                </a:cubicBezTo>
                <a:cubicBezTo>
                  <a:pt x="49" y="303"/>
                  <a:pt x="49" y="303"/>
                  <a:pt x="49" y="303"/>
                </a:cubicBezTo>
                <a:cubicBezTo>
                  <a:pt x="49" y="303"/>
                  <a:pt x="49" y="303"/>
                  <a:pt x="49" y="303"/>
                </a:cubicBezTo>
                <a:cubicBezTo>
                  <a:pt x="47" y="304"/>
                  <a:pt x="47" y="304"/>
                  <a:pt x="47" y="304"/>
                </a:cubicBezTo>
                <a:cubicBezTo>
                  <a:pt x="47" y="304"/>
                  <a:pt x="47" y="304"/>
                  <a:pt x="47" y="304"/>
                </a:cubicBezTo>
                <a:cubicBezTo>
                  <a:pt x="47" y="304"/>
                  <a:pt x="47" y="304"/>
                  <a:pt x="47" y="304"/>
                </a:cubicBezTo>
                <a:cubicBezTo>
                  <a:pt x="46" y="305"/>
                  <a:pt x="46" y="305"/>
                  <a:pt x="46" y="305"/>
                </a:cubicBezTo>
                <a:cubicBezTo>
                  <a:pt x="46" y="305"/>
                  <a:pt x="46" y="305"/>
                  <a:pt x="46" y="305"/>
                </a:cubicBezTo>
                <a:cubicBezTo>
                  <a:pt x="44" y="306"/>
                  <a:pt x="44" y="306"/>
                  <a:pt x="44" y="306"/>
                </a:cubicBezTo>
                <a:cubicBezTo>
                  <a:pt x="43" y="307"/>
                  <a:pt x="43" y="307"/>
                  <a:pt x="43" y="307"/>
                </a:cubicBezTo>
                <a:cubicBezTo>
                  <a:pt x="43" y="307"/>
                  <a:pt x="43" y="307"/>
                  <a:pt x="43" y="307"/>
                </a:cubicBezTo>
                <a:cubicBezTo>
                  <a:pt x="42" y="307"/>
                  <a:pt x="42" y="307"/>
                  <a:pt x="42" y="307"/>
                </a:cubicBezTo>
                <a:cubicBezTo>
                  <a:pt x="41" y="308"/>
                  <a:pt x="41" y="308"/>
                  <a:pt x="41" y="308"/>
                </a:cubicBezTo>
                <a:cubicBezTo>
                  <a:pt x="40" y="308"/>
                  <a:pt x="40" y="308"/>
                  <a:pt x="40" y="308"/>
                </a:cubicBezTo>
                <a:cubicBezTo>
                  <a:pt x="40" y="309"/>
                  <a:pt x="40" y="309"/>
                  <a:pt x="40" y="309"/>
                </a:cubicBezTo>
                <a:cubicBezTo>
                  <a:pt x="35" y="304"/>
                  <a:pt x="35" y="304"/>
                  <a:pt x="35" y="304"/>
                </a:cubicBezTo>
                <a:cubicBezTo>
                  <a:pt x="33" y="303"/>
                  <a:pt x="33" y="303"/>
                  <a:pt x="33" y="303"/>
                </a:cubicBezTo>
                <a:cubicBezTo>
                  <a:pt x="33" y="303"/>
                  <a:pt x="33" y="303"/>
                  <a:pt x="33" y="303"/>
                </a:cubicBezTo>
                <a:cubicBezTo>
                  <a:pt x="34" y="303"/>
                  <a:pt x="34" y="303"/>
                  <a:pt x="34" y="303"/>
                </a:cubicBezTo>
                <a:cubicBezTo>
                  <a:pt x="36" y="303"/>
                  <a:pt x="36" y="303"/>
                  <a:pt x="36" y="303"/>
                </a:cubicBezTo>
                <a:cubicBezTo>
                  <a:pt x="37" y="303"/>
                  <a:pt x="37" y="303"/>
                  <a:pt x="37" y="303"/>
                </a:cubicBezTo>
                <a:cubicBezTo>
                  <a:pt x="38" y="303"/>
                  <a:pt x="38" y="303"/>
                  <a:pt x="38" y="303"/>
                </a:cubicBezTo>
                <a:cubicBezTo>
                  <a:pt x="39" y="303"/>
                  <a:pt x="39" y="303"/>
                  <a:pt x="39" y="303"/>
                </a:cubicBezTo>
                <a:cubicBezTo>
                  <a:pt x="41" y="303"/>
                  <a:pt x="41" y="303"/>
                  <a:pt x="41" y="303"/>
                </a:cubicBezTo>
                <a:lnTo>
                  <a:pt x="43" y="303"/>
                </a:lnTo>
                <a:close/>
                <a:moveTo>
                  <a:pt x="47" y="360"/>
                </a:moveTo>
                <a:cubicBezTo>
                  <a:pt x="47" y="357"/>
                  <a:pt x="47" y="357"/>
                  <a:pt x="47" y="357"/>
                </a:cubicBezTo>
                <a:cubicBezTo>
                  <a:pt x="49" y="359"/>
                  <a:pt x="49" y="359"/>
                  <a:pt x="49" y="359"/>
                </a:cubicBezTo>
                <a:cubicBezTo>
                  <a:pt x="48" y="361"/>
                  <a:pt x="48" y="361"/>
                  <a:pt x="48" y="361"/>
                </a:cubicBezTo>
                <a:cubicBezTo>
                  <a:pt x="47" y="361"/>
                  <a:pt x="47" y="361"/>
                  <a:pt x="47" y="361"/>
                </a:cubicBezTo>
                <a:cubicBezTo>
                  <a:pt x="47" y="361"/>
                  <a:pt x="47" y="361"/>
                  <a:pt x="47" y="361"/>
                </a:cubicBezTo>
                <a:cubicBezTo>
                  <a:pt x="47" y="361"/>
                  <a:pt x="47" y="361"/>
                  <a:pt x="47" y="361"/>
                </a:cubicBezTo>
                <a:lnTo>
                  <a:pt x="47" y="360"/>
                </a:lnTo>
                <a:close/>
                <a:moveTo>
                  <a:pt x="47" y="349"/>
                </a:moveTo>
                <a:cubicBezTo>
                  <a:pt x="47" y="347"/>
                  <a:pt x="47" y="347"/>
                  <a:pt x="47" y="347"/>
                </a:cubicBezTo>
                <a:cubicBezTo>
                  <a:pt x="47" y="346"/>
                  <a:pt x="47" y="346"/>
                  <a:pt x="47" y="346"/>
                </a:cubicBezTo>
                <a:cubicBezTo>
                  <a:pt x="49" y="348"/>
                  <a:pt x="49" y="348"/>
                  <a:pt x="49" y="348"/>
                </a:cubicBezTo>
                <a:cubicBezTo>
                  <a:pt x="49" y="349"/>
                  <a:pt x="49" y="349"/>
                  <a:pt x="49" y="349"/>
                </a:cubicBezTo>
                <a:cubicBezTo>
                  <a:pt x="48" y="349"/>
                  <a:pt x="48" y="349"/>
                  <a:pt x="48" y="349"/>
                </a:cubicBezTo>
                <a:cubicBezTo>
                  <a:pt x="47" y="351"/>
                  <a:pt x="47" y="351"/>
                  <a:pt x="47" y="351"/>
                </a:cubicBezTo>
                <a:cubicBezTo>
                  <a:pt x="47" y="351"/>
                  <a:pt x="47" y="351"/>
                  <a:pt x="47" y="351"/>
                </a:cubicBezTo>
                <a:cubicBezTo>
                  <a:pt x="47" y="351"/>
                  <a:pt x="47" y="351"/>
                  <a:pt x="47" y="351"/>
                </a:cubicBezTo>
                <a:lnTo>
                  <a:pt x="47" y="349"/>
                </a:lnTo>
                <a:close/>
                <a:moveTo>
                  <a:pt x="49" y="324"/>
                </a:moveTo>
                <a:cubicBezTo>
                  <a:pt x="48" y="326"/>
                  <a:pt x="48" y="326"/>
                  <a:pt x="48" y="326"/>
                </a:cubicBezTo>
                <a:cubicBezTo>
                  <a:pt x="48" y="327"/>
                  <a:pt x="48" y="327"/>
                  <a:pt x="48" y="327"/>
                </a:cubicBezTo>
                <a:cubicBezTo>
                  <a:pt x="48" y="327"/>
                  <a:pt x="48" y="327"/>
                  <a:pt x="48" y="327"/>
                </a:cubicBezTo>
                <a:cubicBezTo>
                  <a:pt x="48" y="329"/>
                  <a:pt x="48" y="329"/>
                  <a:pt x="48" y="329"/>
                </a:cubicBezTo>
                <a:cubicBezTo>
                  <a:pt x="48" y="330"/>
                  <a:pt x="48" y="330"/>
                  <a:pt x="48" y="330"/>
                </a:cubicBezTo>
                <a:cubicBezTo>
                  <a:pt x="47" y="332"/>
                  <a:pt x="47" y="332"/>
                  <a:pt x="47" y="332"/>
                </a:cubicBezTo>
                <a:cubicBezTo>
                  <a:pt x="47" y="333"/>
                  <a:pt x="47" y="333"/>
                  <a:pt x="47" y="333"/>
                </a:cubicBezTo>
                <a:cubicBezTo>
                  <a:pt x="47" y="334"/>
                  <a:pt x="47" y="334"/>
                  <a:pt x="47" y="334"/>
                </a:cubicBezTo>
                <a:cubicBezTo>
                  <a:pt x="46" y="333"/>
                  <a:pt x="46" y="333"/>
                  <a:pt x="46" y="333"/>
                </a:cubicBezTo>
                <a:cubicBezTo>
                  <a:pt x="37" y="327"/>
                  <a:pt x="37" y="327"/>
                  <a:pt x="37" y="327"/>
                </a:cubicBezTo>
                <a:cubicBezTo>
                  <a:pt x="38" y="326"/>
                  <a:pt x="38" y="326"/>
                  <a:pt x="38" y="326"/>
                </a:cubicBezTo>
                <a:cubicBezTo>
                  <a:pt x="39" y="326"/>
                  <a:pt x="39" y="326"/>
                  <a:pt x="39" y="326"/>
                </a:cubicBezTo>
                <a:cubicBezTo>
                  <a:pt x="40" y="325"/>
                  <a:pt x="40" y="325"/>
                  <a:pt x="40" y="325"/>
                </a:cubicBezTo>
                <a:cubicBezTo>
                  <a:pt x="42" y="324"/>
                  <a:pt x="42" y="324"/>
                  <a:pt x="42" y="324"/>
                </a:cubicBezTo>
                <a:cubicBezTo>
                  <a:pt x="43" y="324"/>
                  <a:pt x="43" y="324"/>
                  <a:pt x="43" y="324"/>
                </a:cubicBezTo>
                <a:cubicBezTo>
                  <a:pt x="44" y="323"/>
                  <a:pt x="44" y="323"/>
                  <a:pt x="44" y="323"/>
                </a:cubicBezTo>
                <a:cubicBezTo>
                  <a:pt x="44" y="323"/>
                  <a:pt x="44" y="323"/>
                  <a:pt x="44" y="323"/>
                </a:cubicBezTo>
                <a:cubicBezTo>
                  <a:pt x="45" y="323"/>
                  <a:pt x="45" y="323"/>
                  <a:pt x="45" y="323"/>
                </a:cubicBezTo>
                <a:cubicBezTo>
                  <a:pt x="48" y="321"/>
                  <a:pt x="48" y="321"/>
                  <a:pt x="48" y="321"/>
                </a:cubicBezTo>
                <a:cubicBezTo>
                  <a:pt x="49" y="321"/>
                  <a:pt x="49" y="321"/>
                  <a:pt x="49" y="321"/>
                </a:cubicBezTo>
                <a:cubicBezTo>
                  <a:pt x="49" y="320"/>
                  <a:pt x="49" y="320"/>
                  <a:pt x="49" y="320"/>
                </a:cubicBezTo>
                <a:cubicBezTo>
                  <a:pt x="49" y="321"/>
                  <a:pt x="49" y="321"/>
                  <a:pt x="49" y="321"/>
                </a:cubicBezTo>
                <a:cubicBezTo>
                  <a:pt x="49" y="322"/>
                  <a:pt x="49" y="322"/>
                  <a:pt x="49" y="322"/>
                </a:cubicBezTo>
                <a:lnTo>
                  <a:pt x="49" y="324"/>
                </a:lnTo>
                <a:close/>
                <a:moveTo>
                  <a:pt x="47" y="315"/>
                </a:moveTo>
                <a:cubicBezTo>
                  <a:pt x="42" y="310"/>
                  <a:pt x="42" y="310"/>
                  <a:pt x="42" y="310"/>
                </a:cubicBezTo>
                <a:cubicBezTo>
                  <a:pt x="42" y="310"/>
                  <a:pt x="42" y="310"/>
                  <a:pt x="42" y="310"/>
                </a:cubicBezTo>
                <a:cubicBezTo>
                  <a:pt x="42" y="309"/>
                  <a:pt x="42" y="309"/>
                  <a:pt x="42" y="309"/>
                </a:cubicBezTo>
                <a:cubicBezTo>
                  <a:pt x="43" y="309"/>
                  <a:pt x="43" y="309"/>
                  <a:pt x="43" y="309"/>
                </a:cubicBezTo>
                <a:cubicBezTo>
                  <a:pt x="44" y="308"/>
                  <a:pt x="44" y="308"/>
                  <a:pt x="44" y="308"/>
                </a:cubicBezTo>
                <a:cubicBezTo>
                  <a:pt x="44" y="308"/>
                  <a:pt x="44" y="308"/>
                  <a:pt x="44" y="308"/>
                </a:cubicBezTo>
                <a:cubicBezTo>
                  <a:pt x="46" y="307"/>
                  <a:pt x="46" y="307"/>
                  <a:pt x="46" y="307"/>
                </a:cubicBezTo>
                <a:cubicBezTo>
                  <a:pt x="47" y="306"/>
                  <a:pt x="47" y="306"/>
                  <a:pt x="47" y="306"/>
                </a:cubicBezTo>
                <a:cubicBezTo>
                  <a:pt x="47" y="306"/>
                  <a:pt x="47" y="306"/>
                  <a:pt x="47" y="306"/>
                </a:cubicBezTo>
                <a:cubicBezTo>
                  <a:pt x="48" y="306"/>
                  <a:pt x="48" y="306"/>
                  <a:pt x="48" y="306"/>
                </a:cubicBezTo>
                <a:cubicBezTo>
                  <a:pt x="49" y="305"/>
                  <a:pt x="49" y="305"/>
                  <a:pt x="49" y="305"/>
                </a:cubicBezTo>
                <a:cubicBezTo>
                  <a:pt x="49" y="305"/>
                  <a:pt x="49" y="305"/>
                  <a:pt x="49" y="305"/>
                </a:cubicBezTo>
                <a:cubicBezTo>
                  <a:pt x="50" y="304"/>
                  <a:pt x="50" y="304"/>
                  <a:pt x="50" y="304"/>
                </a:cubicBezTo>
                <a:cubicBezTo>
                  <a:pt x="51" y="304"/>
                  <a:pt x="51" y="304"/>
                  <a:pt x="51" y="304"/>
                </a:cubicBezTo>
                <a:cubicBezTo>
                  <a:pt x="52" y="303"/>
                  <a:pt x="52" y="303"/>
                  <a:pt x="52" y="303"/>
                </a:cubicBezTo>
                <a:cubicBezTo>
                  <a:pt x="52" y="303"/>
                  <a:pt x="52" y="303"/>
                  <a:pt x="52" y="303"/>
                </a:cubicBezTo>
                <a:cubicBezTo>
                  <a:pt x="52" y="304"/>
                  <a:pt x="52" y="304"/>
                  <a:pt x="52" y="304"/>
                </a:cubicBezTo>
                <a:cubicBezTo>
                  <a:pt x="52" y="305"/>
                  <a:pt x="52" y="305"/>
                  <a:pt x="52" y="305"/>
                </a:cubicBezTo>
                <a:cubicBezTo>
                  <a:pt x="52" y="306"/>
                  <a:pt x="52" y="306"/>
                  <a:pt x="52" y="306"/>
                </a:cubicBezTo>
                <a:cubicBezTo>
                  <a:pt x="51" y="307"/>
                  <a:pt x="51" y="307"/>
                  <a:pt x="51" y="307"/>
                </a:cubicBezTo>
                <a:cubicBezTo>
                  <a:pt x="51" y="308"/>
                  <a:pt x="51" y="308"/>
                  <a:pt x="51" y="308"/>
                </a:cubicBezTo>
                <a:cubicBezTo>
                  <a:pt x="51" y="309"/>
                  <a:pt x="51" y="309"/>
                  <a:pt x="51" y="309"/>
                </a:cubicBezTo>
                <a:cubicBezTo>
                  <a:pt x="51" y="309"/>
                  <a:pt x="51" y="309"/>
                  <a:pt x="51" y="309"/>
                </a:cubicBezTo>
                <a:cubicBezTo>
                  <a:pt x="51" y="310"/>
                  <a:pt x="51" y="310"/>
                  <a:pt x="51" y="310"/>
                </a:cubicBezTo>
                <a:cubicBezTo>
                  <a:pt x="51" y="311"/>
                  <a:pt x="51" y="311"/>
                  <a:pt x="51" y="312"/>
                </a:cubicBezTo>
                <a:cubicBezTo>
                  <a:pt x="50" y="314"/>
                  <a:pt x="50" y="314"/>
                  <a:pt x="50" y="314"/>
                </a:cubicBezTo>
                <a:cubicBezTo>
                  <a:pt x="50" y="314"/>
                  <a:pt x="50" y="314"/>
                  <a:pt x="50" y="314"/>
                </a:cubicBezTo>
                <a:cubicBezTo>
                  <a:pt x="50" y="315"/>
                  <a:pt x="50" y="315"/>
                  <a:pt x="50" y="315"/>
                </a:cubicBezTo>
                <a:cubicBezTo>
                  <a:pt x="50" y="316"/>
                  <a:pt x="50" y="316"/>
                  <a:pt x="50" y="316"/>
                </a:cubicBezTo>
                <a:cubicBezTo>
                  <a:pt x="50" y="317"/>
                  <a:pt x="50" y="317"/>
                  <a:pt x="50" y="317"/>
                </a:cubicBezTo>
                <a:lnTo>
                  <a:pt x="47" y="315"/>
                </a:lnTo>
                <a:close/>
                <a:moveTo>
                  <a:pt x="40" y="311"/>
                </a:moveTo>
                <a:cubicBezTo>
                  <a:pt x="40" y="311"/>
                  <a:pt x="40" y="311"/>
                  <a:pt x="40" y="311"/>
                </a:cubicBezTo>
                <a:cubicBezTo>
                  <a:pt x="40" y="311"/>
                  <a:pt x="40" y="311"/>
                  <a:pt x="40" y="311"/>
                </a:cubicBezTo>
                <a:cubicBezTo>
                  <a:pt x="48" y="318"/>
                  <a:pt x="48" y="318"/>
                  <a:pt x="48" y="318"/>
                </a:cubicBezTo>
                <a:cubicBezTo>
                  <a:pt x="47" y="318"/>
                  <a:pt x="47" y="318"/>
                  <a:pt x="47" y="318"/>
                </a:cubicBezTo>
                <a:cubicBezTo>
                  <a:pt x="47" y="318"/>
                  <a:pt x="47" y="318"/>
                  <a:pt x="47" y="318"/>
                </a:cubicBezTo>
                <a:cubicBezTo>
                  <a:pt x="46" y="318"/>
                  <a:pt x="46" y="318"/>
                  <a:pt x="46" y="318"/>
                </a:cubicBezTo>
                <a:cubicBezTo>
                  <a:pt x="44" y="318"/>
                  <a:pt x="44" y="318"/>
                  <a:pt x="44" y="318"/>
                </a:cubicBezTo>
                <a:cubicBezTo>
                  <a:pt x="42" y="318"/>
                  <a:pt x="42" y="318"/>
                  <a:pt x="42" y="318"/>
                </a:cubicBezTo>
                <a:cubicBezTo>
                  <a:pt x="40" y="318"/>
                  <a:pt x="40" y="318"/>
                  <a:pt x="40" y="318"/>
                </a:cubicBezTo>
                <a:cubicBezTo>
                  <a:pt x="39" y="318"/>
                  <a:pt x="39" y="318"/>
                  <a:pt x="39" y="318"/>
                </a:cubicBezTo>
                <a:cubicBezTo>
                  <a:pt x="38" y="318"/>
                  <a:pt x="38" y="318"/>
                  <a:pt x="38" y="318"/>
                </a:cubicBezTo>
                <a:cubicBezTo>
                  <a:pt x="36" y="318"/>
                  <a:pt x="36" y="318"/>
                  <a:pt x="36" y="318"/>
                </a:cubicBezTo>
                <a:cubicBezTo>
                  <a:pt x="35" y="318"/>
                  <a:pt x="35" y="318"/>
                  <a:pt x="35" y="318"/>
                </a:cubicBezTo>
                <a:cubicBezTo>
                  <a:pt x="32" y="318"/>
                  <a:pt x="32" y="318"/>
                  <a:pt x="32" y="318"/>
                </a:cubicBezTo>
                <a:cubicBezTo>
                  <a:pt x="31" y="318"/>
                  <a:pt x="31" y="318"/>
                  <a:pt x="31" y="318"/>
                </a:cubicBezTo>
                <a:cubicBezTo>
                  <a:pt x="30" y="318"/>
                  <a:pt x="30" y="318"/>
                  <a:pt x="30" y="318"/>
                </a:cubicBezTo>
                <a:cubicBezTo>
                  <a:pt x="28" y="318"/>
                  <a:pt x="28" y="318"/>
                  <a:pt x="28" y="318"/>
                </a:cubicBezTo>
                <a:cubicBezTo>
                  <a:pt x="29" y="317"/>
                  <a:pt x="29" y="317"/>
                  <a:pt x="29" y="317"/>
                </a:cubicBezTo>
                <a:cubicBezTo>
                  <a:pt x="30" y="317"/>
                  <a:pt x="30" y="317"/>
                  <a:pt x="30" y="317"/>
                </a:cubicBezTo>
                <a:cubicBezTo>
                  <a:pt x="31" y="317"/>
                  <a:pt x="31" y="317"/>
                  <a:pt x="31" y="317"/>
                </a:cubicBezTo>
                <a:cubicBezTo>
                  <a:pt x="32" y="316"/>
                  <a:pt x="32" y="316"/>
                  <a:pt x="32" y="316"/>
                </a:cubicBezTo>
                <a:cubicBezTo>
                  <a:pt x="33" y="315"/>
                  <a:pt x="33" y="315"/>
                  <a:pt x="33" y="315"/>
                </a:cubicBezTo>
                <a:cubicBezTo>
                  <a:pt x="34" y="314"/>
                  <a:pt x="34" y="314"/>
                  <a:pt x="34" y="314"/>
                </a:cubicBezTo>
                <a:cubicBezTo>
                  <a:pt x="35" y="314"/>
                  <a:pt x="35" y="314"/>
                  <a:pt x="35" y="314"/>
                </a:cubicBezTo>
                <a:cubicBezTo>
                  <a:pt x="35" y="314"/>
                  <a:pt x="35" y="314"/>
                  <a:pt x="35" y="314"/>
                </a:cubicBezTo>
                <a:cubicBezTo>
                  <a:pt x="37" y="313"/>
                  <a:pt x="37" y="313"/>
                  <a:pt x="37" y="313"/>
                </a:cubicBezTo>
                <a:cubicBezTo>
                  <a:pt x="38" y="312"/>
                  <a:pt x="38" y="312"/>
                  <a:pt x="38" y="312"/>
                </a:cubicBezTo>
                <a:cubicBezTo>
                  <a:pt x="39" y="311"/>
                  <a:pt x="39" y="311"/>
                  <a:pt x="39" y="311"/>
                </a:cubicBezTo>
                <a:lnTo>
                  <a:pt x="40" y="311"/>
                </a:lnTo>
                <a:close/>
                <a:moveTo>
                  <a:pt x="28" y="320"/>
                </a:moveTo>
                <a:cubicBezTo>
                  <a:pt x="29" y="320"/>
                  <a:pt x="29" y="320"/>
                  <a:pt x="29" y="320"/>
                </a:cubicBezTo>
                <a:cubicBezTo>
                  <a:pt x="32" y="320"/>
                  <a:pt x="32" y="320"/>
                  <a:pt x="32" y="320"/>
                </a:cubicBezTo>
                <a:cubicBezTo>
                  <a:pt x="33" y="320"/>
                  <a:pt x="33" y="320"/>
                  <a:pt x="33" y="320"/>
                </a:cubicBezTo>
                <a:cubicBezTo>
                  <a:pt x="34" y="320"/>
                  <a:pt x="34" y="320"/>
                  <a:pt x="34" y="320"/>
                </a:cubicBezTo>
                <a:cubicBezTo>
                  <a:pt x="37" y="320"/>
                  <a:pt x="37" y="320"/>
                  <a:pt x="37" y="320"/>
                </a:cubicBezTo>
                <a:cubicBezTo>
                  <a:pt x="38" y="320"/>
                  <a:pt x="38" y="320"/>
                  <a:pt x="38" y="320"/>
                </a:cubicBezTo>
                <a:cubicBezTo>
                  <a:pt x="40" y="320"/>
                  <a:pt x="40" y="320"/>
                  <a:pt x="40" y="320"/>
                </a:cubicBezTo>
                <a:cubicBezTo>
                  <a:pt x="41" y="320"/>
                  <a:pt x="41" y="320"/>
                  <a:pt x="41" y="320"/>
                </a:cubicBezTo>
                <a:cubicBezTo>
                  <a:pt x="42" y="320"/>
                  <a:pt x="42" y="320"/>
                  <a:pt x="42" y="320"/>
                </a:cubicBezTo>
                <a:cubicBezTo>
                  <a:pt x="44" y="320"/>
                  <a:pt x="44" y="320"/>
                  <a:pt x="44" y="320"/>
                </a:cubicBezTo>
                <a:cubicBezTo>
                  <a:pt x="46" y="320"/>
                  <a:pt x="46" y="320"/>
                  <a:pt x="46" y="320"/>
                </a:cubicBezTo>
                <a:cubicBezTo>
                  <a:pt x="47" y="320"/>
                  <a:pt x="47" y="320"/>
                  <a:pt x="47" y="320"/>
                </a:cubicBezTo>
                <a:cubicBezTo>
                  <a:pt x="46" y="320"/>
                  <a:pt x="46" y="320"/>
                  <a:pt x="46" y="320"/>
                </a:cubicBezTo>
                <a:cubicBezTo>
                  <a:pt x="45" y="321"/>
                  <a:pt x="45" y="321"/>
                  <a:pt x="45" y="321"/>
                </a:cubicBezTo>
                <a:cubicBezTo>
                  <a:pt x="44" y="321"/>
                  <a:pt x="44" y="321"/>
                  <a:pt x="44" y="321"/>
                </a:cubicBezTo>
                <a:cubicBezTo>
                  <a:pt x="43" y="322"/>
                  <a:pt x="43" y="322"/>
                  <a:pt x="43" y="322"/>
                </a:cubicBezTo>
                <a:cubicBezTo>
                  <a:pt x="42" y="322"/>
                  <a:pt x="42" y="322"/>
                  <a:pt x="42" y="322"/>
                </a:cubicBezTo>
                <a:cubicBezTo>
                  <a:pt x="41" y="323"/>
                  <a:pt x="41" y="323"/>
                  <a:pt x="41" y="323"/>
                </a:cubicBezTo>
                <a:cubicBezTo>
                  <a:pt x="40" y="323"/>
                  <a:pt x="40" y="323"/>
                  <a:pt x="40" y="323"/>
                </a:cubicBezTo>
                <a:cubicBezTo>
                  <a:pt x="39" y="324"/>
                  <a:pt x="39" y="324"/>
                  <a:pt x="39" y="324"/>
                </a:cubicBezTo>
                <a:cubicBezTo>
                  <a:pt x="38" y="324"/>
                  <a:pt x="38" y="324"/>
                  <a:pt x="38" y="324"/>
                </a:cubicBezTo>
                <a:cubicBezTo>
                  <a:pt x="37" y="325"/>
                  <a:pt x="37" y="325"/>
                  <a:pt x="37" y="325"/>
                </a:cubicBezTo>
                <a:cubicBezTo>
                  <a:pt x="35" y="326"/>
                  <a:pt x="35" y="326"/>
                  <a:pt x="35" y="326"/>
                </a:cubicBezTo>
                <a:cubicBezTo>
                  <a:pt x="34" y="324"/>
                  <a:pt x="34" y="324"/>
                  <a:pt x="34" y="324"/>
                </a:cubicBezTo>
                <a:cubicBezTo>
                  <a:pt x="30" y="322"/>
                  <a:pt x="30" y="322"/>
                  <a:pt x="30" y="322"/>
                </a:cubicBezTo>
                <a:cubicBezTo>
                  <a:pt x="28" y="320"/>
                  <a:pt x="28" y="320"/>
                  <a:pt x="28" y="320"/>
                </a:cubicBezTo>
                <a:close/>
                <a:moveTo>
                  <a:pt x="34" y="328"/>
                </a:moveTo>
                <a:cubicBezTo>
                  <a:pt x="35" y="328"/>
                  <a:pt x="35" y="328"/>
                  <a:pt x="35" y="328"/>
                </a:cubicBezTo>
                <a:cubicBezTo>
                  <a:pt x="35" y="328"/>
                  <a:pt x="35" y="328"/>
                  <a:pt x="35" y="328"/>
                </a:cubicBezTo>
                <a:cubicBezTo>
                  <a:pt x="41" y="332"/>
                  <a:pt x="41" y="332"/>
                  <a:pt x="41" y="332"/>
                </a:cubicBezTo>
                <a:cubicBezTo>
                  <a:pt x="44" y="334"/>
                  <a:pt x="44" y="334"/>
                  <a:pt x="44" y="334"/>
                </a:cubicBezTo>
                <a:cubicBezTo>
                  <a:pt x="45" y="334"/>
                  <a:pt x="45" y="334"/>
                  <a:pt x="45" y="334"/>
                </a:cubicBezTo>
                <a:cubicBezTo>
                  <a:pt x="45" y="334"/>
                  <a:pt x="45" y="334"/>
                  <a:pt x="45" y="334"/>
                </a:cubicBezTo>
                <a:cubicBezTo>
                  <a:pt x="44" y="334"/>
                  <a:pt x="44" y="334"/>
                  <a:pt x="44" y="334"/>
                </a:cubicBezTo>
                <a:cubicBezTo>
                  <a:pt x="42" y="334"/>
                  <a:pt x="42" y="334"/>
                  <a:pt x="42" y="334"/>
                </a:cubicBezTo>
                <a:cubicBezTo>
                  <a:pt x="41" y="334"/>
                  <a:pt x="41" y="334"/>
                  <a:pt x="41" y="334"/>
                </a:cubicBezTo>
                <a:cubicBezTo>
                  <a:pt x="40" y="334"/>
                  <a:pt x="40" y="334"/>
                  <a:pt x="40" y="334"/>
                </a:cubicBezTo>
                <a:cubicBezTo>
                  <a:pt x="38" y="334"/>
                  <a:pt x="38" y="334"/>
                  <a:pt x="38" y="334"/>
                </a:cubicBezTo>
                <a:cubicBezTo>
                  <a:pt x="38" y="334"/>
                  <a:pt x="38" y="334"/>
                  <a:pt x="38" y="334"/>
                </a:cubicBezTo>
                <a:cubicBezTo>
                  <a:pt x="37" y="334"/>
                  <a:pt x="37" y="334"/>
                  <a:pt x="37" y="334"/>
                </a:cubicBezTo>
                <a:cubicBezTo>
                  <a:pt x="36" y="335"/>
                  <a:pt x="36" y="335"/>
                  <a:pt x="36" y="335"/>
                </a:cubicBezTo>
                <a:cubicBezTo>
                  <a:pt x="35" y="335"/>
                  <a:pt x="35" y="335"/>
                  <a:pt x="35" y="335"/>
                </a:cubicBezTo>
                <a:cubicBezTo>
                  <a:pt x="33" y="335"/>
                  <a:pt x="33" y="335"/>
                  <a:pt x="33" y="335"/>
                </a:cubicBezTo>
                <a:cubicBezTo>
                  <a:pt x="32" y="335"/>
                  <a:pt x="32" y="335"/>
                  <a:pt x="32" y="335"/>
                </a:cubicBezTo>
                <a:cubicBezTo>
                  <a:pt x="30" y="335"/>
                  <a:pt x="30" y="335"/>
                  <a:pt x="30" y="335"/>
                </a:cubicBezTo>
                <a:cubicBezTo>
                  <a:pt x="28" y="335"/>
                  <a:pt x="28" y="335"/>
                  <a:pt x="28" y="335"/>
                </a:cubicBezTo>
                <a:cubicBezTo>
                  <a:pt x="27" y="335"/>
                  <a:pt x="27" y="335"/>
                  <a:pt x="27" y="335"/>
                </a:cubicBezTo>
                <a:cubicBezTo>
                  <a:pt x="26" y="335"/>
                  <a:pt x="26" y="335"/>
                  <a:pt x="26" y="335"/>
                </a:cubicBezTo>
                <a:cubicBezTo>
                  <a:pt x="25" y="335"/>
                  <a:pt x="25" y="335"/>
                  <a:pt x="25" y="335"/>
                </a:cubicBezTo>
                <a:cubicBezTo>
                  <a:pt x="24" y="335"/>
                  <a:pt x="24" y="335"/>
                  <a:pt x="24" y="335"/>
                </a:cubicBezTo>
                <a:cubicBezTo>
                  <a:pt x="22" y="335"/>
                  <a:pt x="22" y="335"/>
                  <a:pt x="22" y="335"/>
                </a:cubicBezTo>
                <a:cubicBezTo>
                  <a:pt x="23" y="334"/>
                  <a:pt x="23" y="334"/>
                  <a:pt x="23" y="334"/>
                </a:cubicBezTo>
                <a:cubicBezTo>
                  <a:pt x="24" y="334"/>
                  <a:pt x="24" y="334"/>
                  <a:pt x="24" y="334"/>
                </a:cubicBezTo>
                <a:cubicBezTo>
                  <a:pt x="24" y="333"/>
                  <a:pt x="24" y="333"/>
                  <a:pt x="24" y="333"/>
                </a:cubicBezTo>
                <a:cubicBezTo>
                  <a:pt x="25" y="333"/>
                  <a:pt x="25" y="333"/>
                  <a:pt x="25" y="333"/>
                </a:cubicBezTo>
                <a:cubicBezTo>
                  <a:pt x="26" y="333"/>
                  <a:pt x="26" y="333"/>
                  <a:pt x="26" y="333"/>
                </a:cubicBezTo>
                <a:cubicBezTo>
                  <a:pt x="27" y="332"/>
                  <a:pt x="27" y="332"/>
                  <a:pt x="27" y="332"/>
                </a:cubicBezTo>
                <a:cubicBezTo>
                  <a:pt x="29" y="331"/>
                  <a:pt x="29" y="331"/>
                  <a:pt x="29" y="331"/>
                </a:cubicBezTo>
                <a:cubicBezTo>
                  <a:pt x="29" y="331"/>
                  <a:pt x="29" y="331"/>
                  <a:pt x="29" y="331"/>
                </a:cubicBezTo>
                <a:cubicBezTo>
                  <a:pt x="30" y="330"/>
                  <a:pt x="30" y="330"/>
                  <a:pt x="30" y="330"/>
                </a:cubicBezTo>
                <a:cubicBezTo>
                  <a:pt x="31" y="330"/>
                  <a:pt x="31" y="330"/>
                  <a:pt x="31" y="330"/>
                </a:cubicBezTo>
                <a:cubicBezTo>
                  <a:pt x="32" y="330"/>
                  <a:pt x="32" y="330"/>
                  <a:pt x="32" y="330"/>
                </a:cubicBezTo>
                <a:cubicBezTo>
                  <a:pt x="32" y="329"/>
                  <a:pt x="32" y="329"/>
                  <a:pt x="32" y="329"/>
                </a:cubicBezTo>
                <a:cubicBezTo>
                  <a:pt x="34" y="329"/>
                  <a:pt x="34" y="329"/>
                  <a:pt x="34" y="329"/>
                </a:cubicBezTo>
                <a:lnTo>
                  <a:pt x="34" y="328"/>
                </a:lnTo>
                <a:close/>
                <a:moveTo>
                  <a:pt x="41" y="359"/>
                </a:moveTo>
                <a:cubicBezTo>
                  <a:pt x="41" y="360"/>
                  <a:pt x="41" y="360"/>
                  <a:pt x="41" y="360"/>
                </a:cubicBezTo>
                <a:cubicBezTo>
                  <a:pt x="41" y="360"/>
                  <a:pt x="41" y="360"/>
                  <a:pt x="41" y="360"/>
                </a:cubicBezTo>
                <a:cubicBezTo>
                  <a:pt x="40" y="361"/>
                  <a:pt x="40" y="361"/>
                  <a:pt x="40" y="361"/>
                </a:cubicBezTo>
                <a:cubicBezTo>
                  <a:pt x="40" y="361"/>
                  <a:pt x="40" y="361"/>
                  <a:pt x="40" y="361"/>
                </a:cubicBezTo>
                <a:cubicBezTo>
                  <a:pt x="40" y="360"/>
                  <a:pt x="40" y="360"/>
                  <a:pt x="40" y="360"/>
                </a:cubicBezTo>
                <a:cubicBezTo>
                  <a:pt x="40" y="359"/>
                  <a:pt x="40" y="359"/>
                  <a:pt x="40" y="359"/>
                </a:cubicBezTo>
                <a:cubicBezTo>
                  <a:pt x="40" y="359"/>
                  <a:pt x="40" y="359"/>
                  <a:pt x="40" y="359"/>
                </a:cubicBezTo>
                <a:cubicBezTo>
                  <a:pt x="40" y="358"/>
                  <a:pt x="40" y="358"/>
                  <a:pt x="40" y="358"/>
                </a:cubicBezTo>
                <a:cubicBezTo>
                  <a:pt x="40" y="357"/>
                  <a:pt x="40" y="357"/>
                  <a:pt x="40" y="357"/>
                </a:cubicBezTo>
                <a:cubicBezTo>
                  <a:pt x="41" y="359"/>
                  <a:pt x="41" y="359"/>
                  <a:pt x="41" y="359"/>
                </a:cubicBezTo>
                <a:close/>
                <a:moveTo>
                  <a:pt x="43" y="357"/>
                </a:moveTo>
                <a:cubicBezTo>
                  <a:pt x="43" y="357"/>
                  <a:pt x="43" y="357"/>
                  <a:pt x="43" y="357"/>
                </a:cubicBezTo>
                <a:cubicBezTo>
                  <a:pt x="41" y="355"/>
                  <a:pt x="41" y="355"/>
                  <a:pt x="41" y="355"/>
                </a:cubicBezTo>
                <a:cubicBezTo>
                  <a:pt x="41" y="355"/>
                  <a:pt x="41" y="355"/>
                  <a:pt x="41" y="355"/>
                </a:cubicBezTo>
                <a:cubicBezTo>
                  <a:pt x="41" y="355"/>
                  <a:pt x="41" y="355"/>
                  <a:pt x="41" y="355"/>
                </a:cubicBezTo>
                <a:cubicBezTo>
                  <a:pt x="43" y="355"/>
                  <a:pt x="43" y="355"/>
                  <a:pt x="43" y="355"/>
                </a:cubicBezTo>
                <a:cubicBezTo>
                  <a:pt x="43" y="355"/>
                  <a:pt x="43" y="355"/>
                  <a:pt x="43" y="355"/>
                </a:cubicBezTo>
                <a:cubicBezTo>
                  <a:pt x="44" y="355"/>
                  <a:pt x="44" y="355"/>
                  <a:pt x="44" y="355"/>
                </a:cubicBezTo>
                <a:cubicBezTo>
                  <a:pt x="43" y="356"/>
                  <a:pt x="43" y="356"/>
                  <a:pt x="43" y="356"/>
                </a:cubicBezTo>
                <a:lnTo>
                  <a:pt x="43" y="357"/>
                </a:lnTo>
                <a:close/>
                <a:moveTo>
                  <a:pt x="44" y="359"/>
                </a:moveTo>
                <a:cubicBezTo>
                  <a:pt x="44" y="358"/>
                  <a:pt x="44" y="358"/>
                  <a:pt x="44" y="358"/>
                </a:cubicBezTo>
                <a:cubicBezTo>
                  <a:pt x="45" y="358"/>
                  <a:pt x="45" y="358"/>
                  <a:pt x="45" y="358"/>
                </a:cubicBezTo>
                <a:cubicBezTo>
                  <a:pt x="45" y="357"/>
                  <a:pt x="45" y="357"/>
                  <a:pt x="45" y="357"/>
                </a:cubicBezTo>
                <a:cubicBezTo>
                  <a:pt x="45" y="358"/>
                  <a:pt x="45" y="358"/>
                  <a:pt x="45" y="358"/>
                </a:cubicBezTo>
                <a:cubicBezTo>
                  <a:pt x="45" y="359"/>
                  <a:pt x="45" y="359"/>
                  <a:pt x="45" y="359"/>
                </a:cubicBezTo>
                <a:cubicBezTo>
                  <a:pt x="45" y="360"/>
                  <a:pt x="45" y="360"/>
                  <a:pt x="45" y="360"/>
                </a:cubicBezTo>
                <a:cubicBezTo>
                  <a:pt x="45" y="361"/>
                  <a:pt x="45" y="361"/>
                  <a:pt x="45" y="361"/>
                </a:cubicBezTo>
                <a:cubicBezTo>
                  <a:pt x="44" y="359"/>
                  <a:pt x="44" y="359"/>
                  <a:pt x="44" y="359"/>
                </a:cubicBezTo>
                <a:close/>
                <a:moveTo>
                  <a:pt x="48" y="369"/>
                </a:moveTo>
                <a:cubicBezTo>
                  <a:pt x="47" y="370"/>
                  <a:pt x="47" y="370"/>
                  <a:pt x="47" y="370"/>
                </a:cubicBezTo>
                <a:cubicBezTo>
                  <a:pt x="47" y="370"/>
                  <a:pt x="47" y="370"/>
                  <a:pt x="47" y="370"/>
                </a:cubicBezTo>
                <a:cubicBezTo>
                  <a:pt x="46" y="371"/>
                  <a:pt x="46" y="371"/>
                  <a:pt x="46" y="371"/>
                </a:cubicBezTo>
                <a:cubicBezTo>
                  <a:pt x="46" y="371"/>
                  <a:pt x="46" y="371"/>
                  <a:pt x="46" y="371"/>
                </a:cubicBezTo>
                <a:cubicBezTo>
                  <a:pt x="45" y="372"/>
                  <a:pt x="45" y="372"/>
                  <a:pt x="45" y="372"/>
                </a:cubicBezTo>
                <a:cubicBezTo>
                  <a:pt x="46" y="371"/>
                  <a:pt x="46" y="371"/>
                  <a:pt x="46" y="371"/>
                </a:cubicBezTo>
                <a:cubicBezTo>
                  <a:pt x="46" y="370"/>
                  <a:pt x="46" y="370"/>
                  <a:pt x="46" y="370"/>
                </a:cubicBezTo>
                <a:cubicBezTo>
                  <a:pt x="46" y="369"/>
                  <a:pt x="46" y="369"/>
                  <a:pt x="46" y="369"/>
                </a:cubicBezTo>
                <a:cubicBezTo>
                  <a:pt x="46" y="369"/>
                  <a:pt x="46" y="369"/>
                  <a:pt x="46" y="369"/>
                </a:cubicBezTo>
                <a:cubicBezTo>
                  <a:pt x="46" y="368"/>
                  <a:pt x="46" y="368"/>
                  <a:pt x="46" y="368"/>
                </a:cubicBezTo>
                <a:cubicBezTo>
                  <a:pt x="47" y="367"/>
                  <a:pt x="47" y="367"/>
                  <a:pt x="47" y="367"/>
                </a:cubicBezTo>
                <a:cubicBezTo>
                  <a:pt x="48" y="369"/>
                  <a:pt x="48" y="369"/>
                  <a:pt x="48" y="369"/>
                </a:cubicBezTo>
                <a:close/>
                <a:moveTo>
                  <a:pt x="51" y="365"/>
                </a:moveTo>
                <a:cubicBezTo>
                  <a:pt x="50" y="366"/>
                  <a:pt x="50" y="366"/>
                  <a:pt x="50" y="366"/>
                </a:cubicBezTo>
                <a:cubicBezTo>
                  <a:pt x="50" y="367"/>
                  <a:pt x="50" y="367"/>
                  <a:pt x="50" y="367"/>
                </a:cubicBezTo>
                <a:cubicBezTo>
                  <a:pt x="49" y="368"/>
                  <a:pt x="49" y="368"/>
                  <a:pt x="49" y="368"/>
                </a:cubicBezTo>
                <a:cubicBezTo>
                  <a:pt x="49" y="366"/>
                  <a:pt x="49" y="366"/>
                  <a:pt x="49" y="366"/>
                </a:cubicBezTo>
                <a:cubicBezTo>
                  <a:pt x="48" y="365"/>
                  <a:pt x="48" y="365"/>
                  <a:pt x="48" y="365"/>
                </a:cubicBezTo>
                <a:cubicBezTo>
                  <a:pt x="49" y="365"/>
                  <a:pt x="49" y="365"/>
                  <a:pt x="49" y="365"/>
                </a:cubicBezTo>
                <a:cubicBezTo>
                  <a:pt x="51" y="365"/>
                  <a:pt x="51" y="365"/>
                  <a:pt x="51" y="365"/>
                </a:cubicBezTo>
                <a:cubicBezTo>
                  <a:pt x="52" y="365"/>
                  <a:pt x="52" y="365"/>
                  <a:pt x="52" y="365"/>
                </a:cubicBezTo>
                <a:lnTo>
                  <a:pt x="51" y="365"/>
                </a:lnTo>
                <a:close/>
                <a:moveTo>
                  <a:pt x="51" y="363"/>
                </a:moveTo>
                <a:cubicBezTo>
                  <a:pt x="50" y="363"/>
                  <a:pt x="50" y="363"/>
                  <a:pt x="50" y="363"/>
                </a:cubicBezTo>
                <a:cubicBezTo>
                  <a:pt x="49" y="363"/>
                  <a:pt x="49" y="363"/>
                  <a:pt x="49" y="363"/>
                </a:cubicBezTo>
                <a:cubicBezTo>
                  <a:pt x="48" y="363"/>
                  <a:pt x="48" y="363"/>
                  <a:pt x="48" y="363"/>
                </a:cubicBezTo>
                <a:cubicBezTo>
                  <a:pt x="49" y="363"/>
                  <a:pt x="49" y="363"/>
                  <a:pt x="49" y="363"/>
                </a:cubicBezTo>
                <a:cubicBezTo>
                  <a:pt x="49" y="362"/>
                  <a:pt x="49" y="362"/>
                  <a:pt x="49" y="362"/>
                </a:cubicBezTo>
                <a:cubicBezTo>
                  <a:pt x="49" y="362"/>
                  <a:pt x="49" y="362"/>
                  <a:pt x="49" y="362"/>
                </a:cubicBezTo>
                <a:cubicBezTo>
                  <a:pt x="50" y="361"/>
                  <a:pt x="50" y="361"/>
                  <a:pt x="50" y="361"/>
                </a:cubicBezTo>
                <a:cubicBezTo>
                  <a:pt x="52" y="363"/>
                  <a:pt x="52" y="363"/>
                  <a:pt x="52" y="363"/>
                </a:cubicBezTo>
                <a:lnTo>
                  <a:pt x="51" y="363"/>
                </a:lnTo>
                <a:close/>
                <a:moveTo>
                  <a:pt x="53" y="289"/>
                </a:moveTo>
                <a:cubicBezTo>
                  <a:pt x="53" y="290"/>
                  <a:pt x="53" y="290"/>
                  <a:pt x="53" y="290"/>
                </a:cubicBezTo>
                <a:cubicBezTo>
                  <a:pt x="53" y="291"/>
                  <a:pt x="53" y="291"/>
                  <a:pt x="53" y="291"/>
                </a:cubicBezTo>
                <a:cubicBezTo>
                  <a:pt x="53" y="293"/>
                  <a:pt x="53" y="293"/>
                  <a:pt x="53" y="293"/>
                </a:cubicBezTo>
                <a:cubicBezTo>
                  <a:pt x="53" y="293"/>
                  <a:pt x="53" y="293"/>
                  <a:pt x="53" y="293"/>
                </a:cubicBezTo>
                <a:cubicBezTo>
                  <a:pt x="53" y="293"/>
                  <a:pt x="53" y="293"/>
                  <a:pt x="53" y="293"/>
                </a:cubicBezTo>
                <a:cubicBezTo>
                  <a:pt x="53" y="293"/>
                  <a:pt x="53" y="293"/>
                  <a:pt x="53" y="293"/>
                </a:cubicBezTo>
                <a:cubicBezTo>
                  <a:pt x="53" y="294"/>
                  <a:pt x="53" y="294"/>
                  <a:pt x="53" y="294"/>
                </a:cubicBezTo>
                <a:cubicBezTo>
                  <a:pt x="53" y="296"/>
                  <a:pt x="53" y="296"/>
                  <a:pt x="53" y="296"/>
                </a:cubicBezTo>
                <a:cubicBezTo>
                  <a:pt x="53" y="297"/>
                  <a:pt x="53" y="297"/>
                  <a:pt x="53" y="297"/>
                </a:cubicBezTo>
                <a:cubicBezTo>
                  <a:pt x="53" y="297"/>
                  <a:pt x="53" y="297"/>
                  <a:pt x="53" y="297"/>
                </a:cubicBezTo>
                <a:cubicBezTo>
                  <a:pt x="52" y="297"/>
                  <a:pt x="52" y="297"/>
                  <a:pt x="52" y="297"/>
                </a:cubicBezTo>
                <a:cubicBezTo>
                  <a:pt x="52" y="299"/>
                  <a:pt x="52" y="299"/>
                  <a:pt x="52" y="299"/>
                </a:cubicBezTo>
                <a:cubicBezTo>
                  <a:pt x="52" y="300"/>
                  <a:pt x="52" y="300"/>
                  <a:pt x="52" y="300"/>
                </a:cubicBezTo>
                <a:cubicBezTo>
                  <a:pt x="45" y="294"/>
                  <a:pt x="45" y="294"/>
                  <a:pt x="45" y="294"/>
                </a:cubicBezTo>
                <a:cubicBezTo>
                  <a:pt x="46" y="293"/>
                  <a:pt x="46" y="293"/>
                  <a:pt x="46" y="293"/>
                </a:cubicBezTo>
                <a:cubicBezTo>
                  <a:pt x="47" y="292"/>
                  <a:pt x="47" y="292"/>
                  <a:pt x="47" y="292"/>
                </a:cubicBezTo>
                <a:cubicBezTo>
                  <a:pt x="48" y="292"/>
                  <a:pt x="48" y="292"/>
                  <a:pt x="48" y="292"/>
                </a:cubicBezTo>
                <a:cubicBezTo>
                  <a:pt x="49" y="291"/>
                  <a:pt x="49" y="291"/>
                  <a:pt x="49" y="291"/>
                </a:cubicBezTo>
                <a:cubicBezTo>
                  <a:pt x="50" y="290"/>
                  <a:pt x="50" y="290"/>
                  <a:pt x="50" y="290"/>
                </a:cubicBezTo>
                <a:cubicBezTo>
                  <a:pt x="52" y="289"/>
                  <a:pt x="52" y="289"/>
                  <a:pt x="52" y="289"/>
                </a:cubicBezTo>
                <a:cubicBezTo>
                  <a:pt x="52" y="289"/>
                  <a:pt x="52" y="289"/>
                  <a:pt x="52" y="289"/>
                </a:cubicBezTo>
                <a:cubicBezTo>
                  <a:pt x="53" y="289"/>
                  <a:pt x="53" y="289"/>
                  <a:pt x="53" y="289"/>
                </a:cubicBezTo>
                <a:cubicBezTo>
                  <a:pt x="53" y="288"/>
                  <a:pt x="53" y="288"/>
                  <a:pt x="53" y="288"/>
                </a:cubicBezTo>
                <a:lnTo>
                  <a:pt x="53" y="289"/>
                </a:lnTo>
                <a:close/>
                <a:moveTo>
                  <a:pt x="54" y="275"/>
                </a:moveTo>
                <a:cubicBezTo>
                  <a:pt x="54" y="277"/>
                  <a:pt x="54" y="277"/>
                  <a:pt x="54" y="277"/>
                </a:cubicBezTo>
                <a:cubicBezTo>
                  <a:pt x="54" y="279"/>
                  <a:pt x="54" y="279"/>
                  <a:pt x="54" y="279"/>
                </a:cubicBezTo>
                <a:cubicBezTo>
                  <a:pt x="52" y="275"/>
                  <a:pt x="52" y="275"/>
                  <a:pt x="52" y="275"/>
                </a:cubicBezTo>
                <a:cubicBezTo>
                  <a:pt x="52" y="275"/>
                  <a:pt x="52" y="275"/>
                  <a:pt x="52" y="275"/>
                </a:cubicBezTo>
                <a:cubicBezTo>
                  <a:pt x="53" y="274"/>
                  <a:pt x="53" y="274"/>
                  <a:pt x="53" y="274"/>
                </a:cubicBezTo>
                <a:cubicBezTo>
                  <a:pt x="54" y="273"/>
                  <a:pt x="54" y="273"/>
                  <a:pt x="54" y="273"/>
                </a:cubicBezTo>
                <a:cubicBezTo>
                  <a:pt x="55" y="272"/>
                  <a:pt x="55" y="272"/>
                  <a:pt x="55" y="272"/>
                </a:cubicBezTo>
                <a:cubicBezTo>
                  <a:pt x="54" y="274"/>
                  <a:pt x="54" y="274"/>
                  <a:pt x="54" y="274"/>
                </a:cubicBezTo>
                <a:lnTo>
                  <a:pt x="54" y="275"/>
                </a:lnTo>
                <a:close/>
                <a:moveTo>
                  <a:pt x="55" y="361"/>
                </a:moveTo>
                <a:cubicBezTo>
                  <a:pt x="55" y="361"/>
                  <a:pt x="55" y="361"/>
                  <a:pt x="55" y="361"/>
                </a:cubicBezTo>
                <a:cubicBezTo>
                  <a:pt x="55" y="360"/>
                  <a:pt x="55" y="360"/>
                  <a:pt x="55" y="360"/>
                </a:cubicBezTo>
                <a:cubicBezTo>
                  <a:pt x="55" y="359"/>
                  <a:pt x="55" y="359"/>
                  <a:pt x="55" y="359"/>
                </a:cubicBezTo>
                <a:cubicBezTo>
                  <a:pt x="55" y="358"/>
                  <a:pt x="55" y="358"/>
                  <a:pt x="55" y="358"/>
                </a:cubicBezTo>
                <a:cubicBezTo>
                  <a:pt x="55" y="356"/>
                  <a:pt x="55" y="356"/>
                  <a:pt x="55" y="356"/>
                </a:cubicBezTo>
                <a:cubicBezTo>
                  <a:pt x="56" y="359"/>
                  <a:pt x="56" y="359"/>
                  <a:pt x="56" y="359"/>
                </a:cubicBezTo>
                <a:cubicBezTo>
                  <a:pt x="56" y="359"/>
                  <a:pt x="56" y="359"/>
                  <a:pt x="56" y="359"/>
                </a:cubicBezTo>
                <a:cubicBezTo>
                  <a:pt x="56" y="360"/>
                  <a:pt x="56" y="360"/>
                  <a:pt x="56" y="360"/>
                </a:cubicBezTo>
                <a:lnTo>
                  <a:pt x="55" y="361"/>
                </a:lnTo>
                <a:close/>
                <a:moveTo>
                  <a:pt x="59" y="355"/>
                </a:moveTo>
                <a:cubicBezTo>
                  <a:pt x="59" y="356"/>
                  <a:pt x="59" y="356"/>
                  <a:pt x="59" y="356"/>
                </a:cubicBezTo>
                <a:cubicBezTo>
                  <a:pt x="58" y="356"/>
                  <a:pt x="58" y="356"/>
                  <a:pt x="58" y="356"/>
                </a:cubicBezTo>
                <a:cubicBezTo>
                  <a:pt x="58" y="357"/>
                  <a:pt x="58" y="357"/>
                  <a:pt x="58" y="357"/>
                </a:cubicBezTo>
                <a:cubicBezTo>
                  <a:pt x="58" y="357"/>
                  <a:pt x="58" y="357"/>
                  <a:pt x="58" y="357"/>
                </a:cubicBezTo>
                <a:cubicBezTo>
                  <a:pt x="57" y="357"/>
                  <a:pt x="57" y="357"/>
                  <a:pt x="57" y="357"/>
                </a:cubicBezTo>
                <a:cubicBezTo>
                  <a:pt x="56" y="354"/>
                  <a:pt x="56" y="354"/>
                  <a:pt x="56" y="354"/>
                </a:cubicBezTo>
                <a:cubicBezTo>
                  <a:pt x="56" y="354"/>
                  <a:pt x="56" y="354"/>
                  <a:pt x="56" y="354"/>
                </a:cubicBezTo>
                <a:cubicBezTo>
                  <a:pt x="57" y="354"/>
                  <a:pt x="57" y="354"/>
                  <a:pt x="57" y="354"/>
                </a:cubicBezTo>
                <a:cubicBezTo>
                  <a:pt x="58" y="354"/>
                  <a:pt x="58" y="354"/>
                  <a:pt x="58" y="354"/>
                </a:cubicBezTo>
                <a:cubicBezTo>
                  <a:pt x="59" y="354"/>
                  <a:pt x="59" y="354"/>
                  <a:pt x="59" y="354"/>
                </a:cubicBezTo>
                <a:lnTo>
                  <a:pt x="59" y="355"/>
                </a:lnTo>
                <a:close/>
                <a:moveTo>
                  <a:pt x="60" y="363"/>
                </a:moveTo>
                <a:cubicBezTo>
                  <a:pt x="58" y="363"/>
                  <a:pt x="58" y="363"/>
                  <a:pt x="58" y="363"/>
                </a:cubicBezTo>
                <a:cubicBezTo>
                  <a:pt x="56" y="363"/>
                  <a:pt x="56" y="363"/>
                  <a:pt x="56" y="363"/>
                </a:cubicBezTo>
                <a:cubicBezTo>
                  <a:pt x="56" y="363"/>
                  <a:pt x="56" y="363"/>
                  <a:pt x="56" y="363"/>
                </a:cubicBezTo>
                <a:cubicBezTo>
                  <a:pt x="56" y="363"/>
                  <a:pt x="56" y="363"/>
                  <a:pt x="56" y="363"/>
                </a:cubicBezTo>
                <a:cubicBezTo>
                  <a:pt x="56" y="363"/>
                  <a:pt x="56" y="363"/>
                  <a:pt x="56" y="363"/>
                </a:cubicBezTo>
                <a:cubicBezTo>
                  <a:pt x="57" y="362"/>
                  <a:pt x="57" y="362"/>
                  <a:pt x="57" y="362"/>
                </a:cubicBezTo>
                <a:cubicBezTo>
                  <a:pt x="57" y="361"/>
                  <a:pt x="57" y="361"/>
                  <a:pt x="57" y="361"/>
                </a:cubicBezTo>
                <a:cubicBezTo>
                  <a:pt x="58" y="360"/>
                  <a:pt x="58" y="360"/>
                  <a:pt x="58" y="360"/>
                </a:cubicBezTo>
                <a:lnTo>
                  <a:pt x="60" y="363"/>
                </a:lnTo>
                <a:close/>
                <a:moveTo>
                  <a:pt x="59" y="352"/>
                </a:moveTo>
                <a:cubicBezTo>
                  <a:pt x="58" y="353"/>
                  <a:pt x="58" y="353"/>
                  <a:pt x="58" y="353"/>
                </a:cubicBezTo>
                <a:cubicBezTo>
                  <a:pt x="58" y="353"/>
                  <a:pt x="58" y="353"/>
                  <a:pt x="58" y="353"/>
                </a:cubicBezTo>
                <a:cubicBezTo>
                  <a:pt x="56" y="353"/>
                  <a:pt x="56" y="353"/>
                  <a:pt x="56" y="353"/>
                </a:cubicBezTo>
                <a:cubicBezTo>
                  <a:pt x="56" y="353"/>
                  <a:pt x="56" y="353"/>
                  <a:pt x="56" y="353"/>
                </a:cubicBezTo>
                <a:cubicBezTo>
                  <a:pt x="56" y="352"/>
                  <a:pt x="56" y="352"/>
                  <a:pt x="56" y="352"/>
                </a:cubicBezTo>
                <a:cubicBezTo>
                  <a:pt x="56" y="351"/>
                  <a:pt x="56" y="351"/>
                  <a:pt x="56" y="351"/>
                </a:cubicBezTo>
                <a:cubicBezTo>
                  <a:pt x="56" y="351"/>
                  <a:pt x="56" y="351"/>
                  <a:pt x="56" y="351"/>
                </a:cubicBezTo>
                <a:cubicBezTo>
                  <a:pt x="57" y="350"/>
                  <a:pt x="57" y="350"/>
                  <a:pt x="57" y="350"/>
                </a:cubicBezTo>
                <a:cubicBezTo>
                  <a:pt x="57" y="350"/>
                  <a:pt x="57" y="350"/>
                  <a:pt x="57" y="350"/>
                </a:cubicBezTo>
                <a:cubicBezTo>
                  <a:pt x="59" y="352"/>
                  <a:pt x="59" y="352"/>
                  <a:pt x="59" y="352"/>
                </a:cubicBezTo>
                <a:close/>
                <a:moveTo>
                  <a:pt x="57" y="367"/>
                </a:moveTo>
                <a:cubicBezTo>
                  <a:pt x="56" y="365"/>
                  <a:pt x="56" y="365"/>
                  <a:pt x="56" y="365"/>
                </a:cubicBezTo>
                <a:cubicBezTo>
                  <a:pt x="57" y="365"/>
                  <a:pt x="57" y="365"/>
                  <a:pt x="57" y="365"/>
                </a:cubicBezTo>
                <a:cubicBezTo>
                  <a:pt x="58" y="365"/>
                  <a:pt x="58" y="365"/>
                  <a:pt x="58" y="365"/>
                </a:cubicBezTo>
                <a:cubicBezTo>
                  <a:pt x="58" y="365"/>
                  <a:pt x="58" y="365"/>
                  <a:pt x="58" y="365"/>
                </a:cubicBezTo>
                <a:cubicBezTo>
                  <a:pt x="59" y="365"/>
                  <a:pt x="59" y="365"/>
                  <a:pt x="59" y="365"/>
                </a:cubicBezTo>
                <a:cubicBezTo>
                  <a:pt x="59" y="365"/>
                  <a:pt x="59" y="365"/>
                  <a:pt x="59" y="365"/>
                </a:cubicBezTo>
                <a:cubicBezTo>
                  <a:pt x="59" y="366"/>
                  <a:pt x="59" y="366"/>
                  <a:pt x="59" y="366"/>
                </a:cubicBezTo>
                <a:cubicBezTo>
                  <a:pt x="58" y="366"/>
                  <a:pt x="58" y="366"/>
                  <a:pt x="58" y="366"/>
                </a:cubicBezTo>
                <a:lnTo>
                  <a:pt x="57" y="367"/>
                </a:lnTo>
                <a:close/>
                <a:moveTo>
                  <a:pt x="60" y="367"/>
                </a:moveTo>
                <a:cubicBezTo>
                  <a:pt x="60" y="368"/>
                  <a:pt x="60" y="368"/>
                  <a:pt x="60" y="368"/>
                </a:cubicBezTo>
                <a:cubicBezTo>
                  <a:pt x="60" y="372"/>
                  <a:pt x="60" y="372"/>
                  <a:pt x="60" y="372"/>
                </a:cubicBezTo>
                <a:cubicBezTo>
                  <a:pt x="58" y="369"/>
                  <a:pt x="58" y="369"/>
                  <a:pt x="58" y="369"/>
                </a:cubicBezTo>
                <a:cubicBezTo>
                  <a:pt x="60" y="368"/>
                  <a:pt x="60" y="368"/>
                  <a:pt x="60" y="368"/>
                </a:cubicBezTo>
                <a:cubicBezTo>
                  <a:pt x="60" y="367"/>
                  <a:pt x="60" y="367"/>
                  <a:pt x="60" y="367"/>
                </a:cubicBezTo>
                <a:cubicBezTo>
                  <a:pt x="60" y="367"/>
                  <a:pt x="60" y="367"/>
                  <a:pt x="60" y="367"/>
                </a:cubicBezTo>
                <a:close/>
                <a:moveTo>
                  <a:pt x="60" y="296"/>
                </a:moveTo>
                <a:cubicBezTo>
                  <a:pt x="60" y="296"/>
                  <a:pt x="60" y="296"/>
                  <a:pt x="60" y="296"/>
                </a:cubicBezTo>
                <a:cubicBezTo>
                  <a:pt x="58" y="296"/>
                  <a:pt x="58" y="296"/>
                  <a:pt x="58" y="296"/>
                </a:cubicBezTo>
                <a:cubicBezTo>
                  <a:pt x="56" y="296"/>
                  <a:pt x="56" y="296"/>
                  <a:pt x="56" y="296"/>
                </a:cubicBezTo>
                <a:cubicBezTo>
                  <a:pt x="55" y="296"/>
                  <a:pt x="55" y="296"/>
                  <a:pt x="55" y="296"/>
                </a:cubicBezTo>
                <a:cubicBezTo>
                  <a:pt x="55" y="296"/>
                  <a:pt x="55" y="296"/>
                  <a:pt x="55" y="296"/>
                </a:cubicBezTo>
                <a:cubicBezTo>
                  <a:pt x="55" y="296"/>
                  <a:pt x="55" y="296"/>
                  <a:pt x="55" y="296"/>
                </a:cubicBezTo>
                <a:cubicBezTo>
                  <a:pt x="55" y="294"/>
                  <a:pt x="55" y="294"/>
                  <a:pt x="55" y="294"/>
                </a:cubicBezTo>
                <a:cubicBezTo>
                  <a:pt x="55" y="294"/>
                  <a:pt x="55" y="294"/>
                  <a:pt x="55" y="294"/>
                </a:cubicBezTo>
                <a:cubicBezTo>
                  <a:pt x="56" y="294"/>
                  <a:pt x="56" y="294"/>
                  <a:pt x="56" y="294"/>
                </a:cubicBezTo>
                <a:cubicBezTo>
                  <a:pt x="57" y="294"/>
                  <a:pt x="57" y="294"/>
                  <a:pt x="57" y="294"/>
                </a:cubicBezTo>
                <a:cubicBezTo>
                  <a:pt x="58" y="294"/>
                  <a:pt x="58" y="294"/>
                  <a:pt x="58" y="294"/>
                </a:cubicBezTo>
                <a:cubicBezTo>
                  <a:pt x="59" y="294"/>
                  <a:pt x="59" y="294"/>
                  <a:pt x="59" y="294"/>
                </a:cubicBezTo>
                <a:cubicBezTo>
                  <a:pt x="62" y="293"/>
                  <a:pt x="62" y="293"/>
                  <a:pt x="62" y="293"/>
                </a:cubicBezTo>
                <a:cubicBezTo>
                  <a:pt x="65" y="293"/>
                  <a:pt x="65" y="293"/>
                  <a:pt x="65" y="293"/>
                </a:cubicBezTo>
                <a:cubicBezTo>
                  <a:pt x="68" y="293"/>
                  <a:pt x="68" y="293"/>
                  <a:pt x="68" y="293"/>
                </a:cubicBezTo>
                <a:cubicBezTo>
                  <a:pt x="69" y="293"/>
                  <a:pt x="69" y="293"/>
                  <a:pt x="69" y="293"/>
                </a:cubicBezTo>
                <a:cubicBezTo>
                  <a:pt x="71" y="293"/>
                  <a:pt x="71" y="293"/>
                  <a:pt x="71" y="293"/>
                </a:cubicBezTo>
                <a:cubicBezTo>
                  <a:pt x="73" y="293"/>
                  <a:pt x="73" y="293"/>
                  <a:pt x="73" y="293"/>
                </a:cubicBezTo>
                <a:cubicBezTo>
                  <a:pt x="74" y="295"/>
                  <a:pt x="74" y="295"/>
                  <a:pt x="74" y="295"/>
                </a:cubicBezTo>
                <a:cubicBezTo>
                  <a:pt x="74" y="296"/>
                  <a:pt x="74" y="296"/>
                  <a:pt x="74" y="296"/>
                </a:cubicBezTo>
                <a:cubicBezTo>
                  <a:pt x="72" y="296"/>
                  <a:pt x="72" y="296"/>
                  <a:pt x="72" y="296"/>
                </a:cubicBezTo>
                <a:cubicBezTo>
                  <a:pt x="71" y="296"/>
                  <a:pt x="71" y="296"/>
                  <a:pt x="71" y="296"/>
                </a:cubicBezTo>
                <a:cubicBezTo>
                  <a:pt x="67" y="296"/>
                  <a:pt x="67" y="296"/>
                  <a:pt x="67" y="296"/>
                </a:cubicBezTo>
                <a:cubicBezTo>
                  <a:pt x="65" y="296"/>
                  <a:pt x="65" y="296"/>
                  <a:pt x="65" y="296"/>
                </a:cubicBezTo>
                <a:cubicBezTo>
                  <a:pt x="62" y="296"/>
                  <a:pt x="62" y="296"/>
                  <a:pt x="62" y="296"/>
                </a:cubicBezTo>
                <a:lnTo>
                  <a:pt x="60" y="296"/>
                </a:lnTo>
                <a:close/>
                <a:moveTo>
                  <a:pt x="57" y="47"/>
                </a:moveTo>
                <a:cubicBezTo>
                  <a:pt x="57" y="49"/>
                  <a:pt x="57" y="49"/>
                  <a:pt x="57" y="49"/>
                </a:cubicBezTo>
                <a:cubicBezTo>
                  <a:pt x="57" y="50"/>
                  <a:pt x="57" y="50"/>
                  <a:pt x="57" y="50"/>
                </a:cubicBezTo>
                <a:cubicBezTo>
                  <a:pt x="58" y="53"/>
                  <a:pt x="58" y="53"/>
                  <a:pt x="58" y="53"/>
                </a:cubicBezTo>
                <a:cubicBezTo>
                  <a:pt x="57" y="53"/>
                  <a:pt x="57" y="53"/>
                  <a:pt x="57" y="53"/>
                </a:cubicBezTo>
                <a:cubicBezTo>
                  <a:pt x="56" y="53"/>
                  <a:pt x="56" y="53"/>
                  <a:pt x="56" y="53"/>
                </a:cubicBezTo>
                <a:cubicBezTo>
                  <a:pt x="55" y="53"/>
                  <a:pt x="55" y="52"/>
                  <a:pt x="54" y="52"/>
                </a:cubicBezTo>
                <a:cubicBezTo>
                  <a:pt x="54" y="51"/>
                  <a:pt x="54" y="51"/>
                  <a:pt x="54" y="51"/>
                </a:cubicBezTo>
                <a:cubicBezTo>
                  <a:pt x="55" y="47"/>
                  <a:pt x="55" y="47"/>
                  <a:pt x="55" y="47"/>
                </a:cubicBezTo>
                <a:cubicBezTo>
                  <a:pt x="55" y="46"/>
                  <a:pt x="55" y="46"/>
                  <a:pt x="55" y="46"/>
                </a:cubicBezTo>
                <a:cubicBezTo>
                  <a:pt x="55" y="45"/>
                  <a:pt x="55" y="45"/>
                  <a:pt x="55" y="45"/>
                </a:cubicBezTo>
                <a:cubicBezTo>
                  <a:pt x="56" y="45"/>
                  <a:pt x="56" y="45"/>
                  <a:pt x="56" y="45"/>
                </a:cubicBezTo>
                <a:cubicBezTo>
                  <a:pt x="57" y="45"/>
                  <a:pt x="57" y="45"/>
                  <a:pt x="57" y="45"/>
                </a:cubicBezTo>
                <a:cubicBezTo>
                  <a:pt x="57" y="45"/>
                  <a:pt x="57" y="45"/>
                  <a:pt x="57" y="45"/>
                </a:cubicBezTo>
                <a:cubicBezTo>
                  <a:pt x="57" y="45"/>
                  <a:pt x="57" y="45"/>
                  <a:pt x="57" y="45"/>
                </a:cubicBezTo>
                <a:lnTo>
                  <a:pt x="57" y="47"/>
                </a:lnTo>
                <a:close/>
                <a:moveTo>
                  <a:pt x="67" y="80"/>
                </a:moveTo>
                <a:cubicBezTo>
                  <a:pt x="67" y="80"/>
                  <a:pt x="67" y="80"/>
                  <a:pt x="67" y="80"/>
                </a:cubicBezTo>
                <a:cubicBezTo>
                  <a:pt x="67" y="80"/>
                  <a:pt x="67" y="80"/>
                  <a:pt x="67" y="80"/>
                </a:cubicBezTo>
                <a:cubicBezTo>
                  <a:pt x="66" y="80"/>
                  <a:pt x="66" y="80"/>
                  <a:pt x="66" y="80"/>
                </a:cubicBezTo>
                <a:cubicBezTo>
                  <a:pt x="65" y="80"/>
                  <a:pt x="65" y="80"/>
                  <a:pt x="65" y="80"/>
                </a:cubicBezTo>
                <a:cubicBezTo>
                  <a:pt x="65" y="80"/>
                  <a:pt x="65" y="80"/>
                  <a:pt x="65" y="80"/>
                </a:cubicBezTo>
                <a:cubicBezTo>
                  <a:pt x="65" y="80"/>
                  <a:pt x="65" y="80"/>
                  <a:pt x="65" y="80"/>
                </a:cubicBezTo>
                <a:cubicBezTo>
                  <a:pt x="65" y="80"/>
                  <a:pt x="65" y="80"/>
                  <a:pt x="65" y="80"/>
                </a:cubicBezTo>
                <a:cubicBezTo>
                  <a:pt x="65" y="80"/>
                  <a:pt x="65" y="80"/>
                  <a:pt x="65" y="80"/>
                </a:cubicBezTo>
                <a:cubicBezTo>
                  <a:pt x="65" y="79"/>
                  <a:pt x="65" y="79"/>
                  <a:pt x="65" y="79"/>
                </a:cubicBezTo>
                <a:cubicBezTo>
                  <a:pt x="65" y="79"/>
                  <a:pt x="65" y="79"/>
                  <a:pt x="65" y="79"/>
                </a:cubicBezTo>
                <a:cubicBezTo>
                  <a:pt x="65" y="79"/>
                  <a:pt x="65" y="79"/>
                  <a:pt x="65" y="79"/>
                </a:cubicBezTo>
                <a:cubicBezTo>
                  <a:pt x="66" y="78"/>
                  <a:pt x="66" y="78"/>
                  <a:pt x="66" y="78"/>
                </a:cubicBezTo>
                <a:lnTo>
                  <a:pt x="67" y="80"/>
                </a:lnTo>
                <a:close/>
                <a:moveTo>
                  <a:pt x="67" y="76"/>
                </a:moveTo>
                <a:cubicBezTo>
                  <a:pt x="67" y="75"/>
                  <a:pt x="67" y="75"/>
                  <a:pt x="67" y="75"/>
                </a:cubicBezTo>
                <a:cubicBezTo>
                  <a:pt x="67" y="75"/>
                  <a:pt x="67" y="75"/>
                  <a:pt x="67" y="75"/>
                </a:cubicBezTo>
                <a:cubicBezTo>
                  <a:pt x="68" y="74"/>
                  <a:pt x="68" y="74"/>
                  <a:pt x="68" y="74"/>
                </a:cubicBezTo>
                <a:cubicBezTo>
                  <a:pt x="68" y="76"/>
                  <a:pt x="68" y="76"/>
                  <a:pt x="68" y="76"/>
                </a:cubicBezTo>
                <a:cubicBezTo>
                  <a:pt x="68" y="76"/>
                  <a:pt x="68" y="76"/>
                  <a:pt x="68" y="76"/>
                </a:cubicBezTo>
                <a:cubicBezTo>
                  <a:pt x="68" y="77"/>
                  <a:pt x="68" y="77"/>
                  <a:pt x="68" y="77"/>
                </a:cubicBezTo>
                <a:lnTo>
                  <a:pt x="67" y="76"/>
                </a:lnTo>
                <a:close/>
                <a:moveTo>
                  <a:pt x="55" y="97"/>
                </a:moveTo>
                <a:cubicBezTo>
                  <a:pt x="56" y="99"/>
                  <a:pt x="56" y="99"/>
                  <a:pt x="56" y="99"/>
                </a:cubicBezTo>
                <a:cubicBezTo>
                  <a:pt x="57" y="100"/>
                  <a:pt x="57" y="100"/>
                  <a:pt x="57" y="100"/>
                </a:cubicBezTo>
                <a:cubicBezTo>
                  <a:pt x="54" y="100"/>
                  <a:pt x="54" y="100"/>
                  <a:pt x="54" y="100"/>
                </a:cubicBezTo>
                <a:cubicBezTo>
                  <a:pt x="54" y="100"/>
                  <a:pt x="54" y="100"/>
                  <a:pt x="54" y="100"/>
                </a:cubicBezTo>
                <a:cubicBezTo>
                  <a:pt x="54" y="99"/>
                  <a:pt x="54" y="99"/>
                  <a:pt x="54" y="99"/>
                </a:cubicBezTo>
                <a:cubicBezTo>
                  <a:pt x="55" y="98"/>
                  <a:pt x="55" y="98"/>
                  <a:pt x="55" y="98"/>
                </a:cubicBezTo>
                <a:lnTo>
                  <a:pt x="55" y="97"/>
                </a:lnTo>
                <a:close/>
                <a:moveTo>
                  <a:pt x="54" y="82"/>
                </a:moveTo>
                <a:cubicBezTo>
                  <a:pt x="55" y="82"/>
                  <a:pt x="55" y="82"/>
                  <a:pt x="55" y="82"/>
                </a:cubicBezTo>
                <a:cubicBezTo>
                  <a:pt x="56" y="82"/>
                  <a:pt x="56" y="82"/>
                  <a:pt x="56" y="82"/>
                </a:cubicBezTo>
                <a:cubicBezTo>
                  <a:pt x="57" y="82"/>
                  <a:pt x="57" y="82"/>
                  <a:pt x="57" y="82"/>
                </a:cubicBezTo>
                <a:cubicBezTo>
                  <a:pt x="57" y="82"/>
                  <a:pt x="57" y="82"/>
                  <a:pt x="57" y="82"/>
                </a:cubicBezTo>
                <a:cubicBezTo>
                  <a:pt x="56" y="83"/>
                  <a:pt x="56" y="83"/>
                  <a:pt x="56" y="83"/>
                </a:cubicBezTo>
                <a:cubicBezTo>
                  <a:pt x="55" y="84"/>
                  <a:pt x="55" y="84"/>
                  <a:pt x="55" y="84"/>
                </a:cubicBezTo>
                <a:lnTo>
                  <a:pt x="54" y="82"/>
                </a:lnTo>
                <a:close/>
                <a:moveTo>
                  <a:pt x="57" y="151"/>
                </a:moveTo>
                <a:cubicBezTo>
                  <a:pt x="57" y="151"/>
                  <a:pt x="57" y="151"/>
                  <a:pt x="57" y="151"/>
                </a:cubicBezTo>
                <a:cubicBezTo>
                  <a:pt x="57" y="151"/>
                  <a:pt x="57" y="151"/>
                  <a:pt x="57" y="151"/>
                </a:cubicBezTo>
                <a:cubicBezTo>
                  <a:pt x="57" y="153"/>
                  <a:pt x="57" y="153"/>
                  <a:pt x="57" y="153"/>
                </a:cubicBezTo>
                <a:cubicBezTo>
                  <a:pt x="57" y="155"/>
                  <a:pt x="57" y="155"/>
                  <a:pt x="57" y="155"/>
                </a:cubicBezTo>
                <a:cubicBezTo>
                  <a:pt x="55" y="153"/>
                  <a:pt x="55" y="153"/>
                  <a:pt x="55" y="153"/>
                </a:cubicBezTo>
                <a:cubicBezTo>
                  <a:pt x="56" y="152"/>
                  <a:pt x="56" y="152"/>
                  <a:pt x="56" y="152"/>
                </a:cubicBezTo>
                <a:lnTo>
                  <a:pt x="57" y="151"/>
                </a:lnTo>
                <a:close/>
                <a:moveTo>
                  <a:pt x="55" y="145"/>
                </a:moveTo>
                <a:cubicBezTo>
                  <a:pt x="56" y="144"/>
                  <a:pt x="56" y="144"/>
                  <a:pt x="56" y="144"/>
                </a:cubicBezTo>
                <a:cubicBezTo>
                  <a:pt x="56" y="144"/>
                  <a:pt x="56" y="144"/>
                  <a:pt x="56" y="144"/>
                </a:cubicBezTo>
                <a:cubicBezTo>
                  <a:pt x="57" y="143"/>
                  <a:pt x="57" y="143"/>
                  <a:pt x="57" y="143"/>
                </a:cubicBezTo>
                <a:cubicBezTo>
                  <a:pt x="57" y="143"/>
                  <a:pt x="57" y="143"/>
                  <a:pt x="57" y="143"/>
                </a:cubicBezTo>
                <a:cubicBezTo>
                  <a:pt x="57" y="143"/>
                  <a:pt x="57" y="143"/>
                  <a:pt x="57" y="143"/>
                </a:cubicBezTo>
                <a:cubicBezTo>
                  <a:pt x="57" y="145"/>
                  <a:pt x="57" y="145"/>
                  <a:pt x="57" y="145"/>
                </a:cubicBezTo>
                <a:cubicBezTo>
                  <a:pt x="57" y="146"/>
                  <a:pt x="57" y="146"/>
                  <a:pt x="57" y="146"/>
                </a:cubicBezTo>
                <a:cubicBezTo>
                  <a:pt x="57" y="147"/>
                  <a:pt x="57" y="147"/>
                  <a:pt x="57" y="147"/>
                </a:cubicBezTo>
                <a:lnTo>
                  <a:pt x="55" y="145"/>
                </a:lnTo>
                <a:close/>
                <a:moveTo>
                  <a:pt x="64" y="137"/>
                </a:moveTo>
                <a:cubicBezTo>
                  <a:pt x="63" y="136"/>
                  <a:pt x="63" y="136"/>
                  <a:pt x="63" y="136"/>
                </a:cubicBezTo>
                <a:cubicBezTo>
                  <a:pt x="63" y="135"/>
                  <a:pt x="63" y="135"/>
                  <a:pt x="63" y="135"/>
                </a:cubicBezTo>
                <a:cubicBezTo>
                  <a:pt x="64" y="134"/>
                  <a:pt x="64" y="134"/>
                  <a:pt x="64" y="134"/>
                </a:cubicBezTo>
                <a:cubicBezTo>
                  <a:pt x="64" y="136"/>
                  <a:pt x="64" y="136"/>
                  <a:pt x="64" y="136"/>
                </a:cubicBezTo>
                <a:lnTo>
                  <a:pt x="64" y="137"/>
                </a:lnTo>
                <a:close/>
                <a:moveTo>
                  <a:pt x="64" y="55"/>
                </a:moveTo>
                <a:cubicBezTo>
                  <a:pt x="64" y="55"/>
                  <a:pt x="64" y="55"/>
                  <a:pt x="64" y="55"/>
                </a:cubicBezTo>
                <a:cubicBezTo>
                  <a:pt x="66" y="55"/>
                  <a:pt x="66" y="55"/>
                  <a:pt x="66" y="55"/>
                </a:cubicBezTo>
                <a:cubicBezTo>
                  <a:pt x="65" y="56"/>
                  <a:pt x="65" y="56"/>
                  <a:pt x="65" y="56"/>
                </a:cubicBezTo>
                <a:cubicBezTo>
                  <a:pt x="65" y="57"/>
                  <a:pt x="65" y="57"/>
                  <a:pt x="65" y="57"/>
                </a:cubicBezTo>
                <a:lnTo>
                  <a:pt x="64" y="55"/>
                </a:lnTo>
                <a:close/>
                <a:moveTo>
                  <a:pt x="71" y="186"/>
                </a:moveTo>
                <a:cubicBezTo>
                  <a:pt x="71" y="186"/>
                  <a:pt x="71" y="186"/>
                  <a:pt x="71" y="186"/>
                </a:cubicBezTo>
                <a:cubicBezTo>
                  <a:pt x="69" y="187"/>
                  <a:pt x="69" y="187"/>
                  <a:pt x="69" y="187"/>
                </a:cubicBezTo>
                <a:cubicBezTo>
                  <a:pt x="69" y="188"/>
                  <a:pt x="69" y="188"/>
                  <a:pt x="69" y="188"/>
                </a:cubicBezTo>
                <a:cubicBezTo>
                  <a:pt x="68" y="189"/>
                  <a:pt x="68" y="189"/>
                  <a:pt x="68" y="189"/>
                </a:cubicBezTo>
                <a:cubicBezTo>
                  <a:pt x="68" y="187"/>
                  <a:pt x="68" y="187"/>
                  <a:pt x="68" y="187"/>
                </a:cubicBezTo>
                <a:cubicBezTo>
                  <a:pt x="68" y="186"/>
                  <a:pt x="68" y="186"/>
                  <a:pt x="68" y="186"/>
                </a:cubicBezTo>
                <a:cubicBezTo>
                  <a:pt x="67" y="183"/>
                  <a:pt x="67" y="183"/>
                  <a:pt x="67" y="183"/>
                </a:cubicBezTo>
                <a:cubicBezTo>
                  <a:pt x="67" y="183"/>
                  <a:pt x="67" y="183"/>
                  <a:pt x="67" y="183"/>
                </a:cubicBezTo>
                <a:lnTo>
                  <a:pt x="71" y="186"/>
                </a:lnTo>
                <a:close/>
                <a:moveTo>
                  <a:pt x="69" y="182"/>
                </a:moveTo>
                <a:cubicBezTo>
                  <a:pt x="69" y="182"/>
                  <a:pt x="69" y="182"/>
                  <a:pt x="69" y="182"/>
                </a:cubicBezTo>
                <a:cubicBezTo>
                  <a:pt x="73" y="182"/>
                  <a:pt x="73" y="182"/>
                  <a:pt x="73" y="182"/>
                </a:cubicBezTo>
                <a:cubicBezTo>
                  <a:pt x="75" y="182"/>
                  <a:pt x="75" y="182"/>
                  <a:pt x="75" y="182"/>
                </a:cubicBezTo>
                <a:cubicBezTo>
                  <a:pt x="74" y="183"/>
                  <a:pt x="74" y="183"/>
                  <a:pt x="74" y="183"/>
                </a:cubicBezTo>
                <a:cubicBezTo>
                  <a:pt x="72" y="184"/>
                  <a:pt x="72" y="184"/>
                  <a:pt x="72" y="184"/>
                </a:cubicBezTo>
                <a:cubicBezTo>
                  <a:pt x="72" y="184"/>
                  <a:pt x="72" y="184"/>
                  <a:pt x="72" y="184"/>
                </a:cubicBezTo>
                <a:lnTo>
                  <a:pt x="69" y="182"/>
                </a:lnTo>
                <a:close/>
                <a:moveTo>
                  <a:pt x="58" y="279"/>
                </a:moveTo>
                <a:cubicBezTo>
                  <a:pt x="59" y="278"/>
                  <a:pt x="59" y="278"/>
                  <a:pt x="59" y="278"/>
                </a:cubicBezTo>
                <a:cubicBezTo>
                  <a:pt x="59" y="277"/>
                  <a:pt x="59" y="277"/>
                  <a:pt x="59" y="277"/>
                </a:cubicBezTo>
                <a:cubicBezTo>
                  <a:pt x="62" y="281"/>
                  <a:pt x="62" y="281"/>
                  <a:pt x="62" y="281"/>
                </a:cubicBezTo>
                <a:cubicBezTo>
                  <a:pt x="62" y="281"/>
                  <a:pt x="62" y="281"/>
                  <a:pt x="62" y="281"/>
                </a:cubicBezTo>
                <a:cubicBezTo>
                  <a:pt x="60" y="281"/>
                  <a:pt x="60" y="281"/>
                  <a:pt x="60" y="281"/>
                </a:cubicBezTo>
                <a:cubicBezTo>
                  <a:pt x="58" y="281"/>
                  <a:pt x="58" y="281"/>
                  <a:pt x="58" y="281"/>
                </a:cubicBezTo>
                <a:cubicBezTo>
                  <a:pt x="57" y="281"/>
                  <a:pt x="57" y="281"/>
                  <a:pt x="57" y="281"/>
                </a:cubicBezTo>
                <a:cubicBezTo>
                  <a:pt x="57" y="280"/>
                  <a:pt x="57" y="280"/>
                  <a:pt x="57" y="280"/>
                </a:cubicBezTo>
                <a:lnTo>
                  <a:pt x="58" y="279"/>
                </a:lnTo>
                <a:close/>
                <a:moveTo>
                  <a:pt x="57" y="270"/>
                </a:moveTo>
                <a:cubicBezTo>
                  <a:pt x="58" y="270"/>
                  <a:pt x="58" y="270"/>
                  <a:pt x="58" y="270"/>
                </a:cubicBezTo>
                <a:cubicBezTo>
                  <a:pt x="58" y="270"/>
                  <a:pt x="58" y="270"/>
                  <a:pt x="58" y="270"/>
                </a:cubicBezTo>
                <a:cubicBezTo>
                  <a:pt x="59" y="270"/>
                  <a:pt x="59" y="270"/>
                  <a:pt x="59" y="270"/>
                </a:cubicBezTo>
                <a:cubicBezTo>
                  <a:pt x="60" y="270"/>
                  <a:pt x="60" y="270"/>
                  <a:pt x="60" y="270"/>
                </a:cubicBezTo>
                <a:cubicBezTo>
                  <a:pt x="62" y="270"/>
                  <a:pt x="62" y="270"/>
                  <a:pt x="62" y="270"/>
                </a:cubicBezTo>
                <a:cubicBezTo>
                  <a:pt x="61" y="271"/>
                  <a:pt x="61" y="271"/>
                  <a:pt x="61" y="271"/>
                </a:cubicBezTo>
                <a:cubicBezTo>
                  <a:pt x="61" y="272"/>
                  <a:pt x="61" y="272"/>
                  <a:pt x="61" y="272"/>
                </a:cubicBezTo>
                <a:cubicBezTo>
                  <a:pt x="60" y="272"/>
                  <a:pt x="60" y="272"/>
                  <a:pt x="60" y="272"/>
                </a:cubicBezTo>
                <a:cubicBezTo>
                  <a:pt x="60" y="272"/>
                  <a:pt x="60" y="272"/>
                  <a:pt x="60" y="272"/>
                </a:cubicBezTo>
                <a:cubicBezTo>
                  <a:pt x="60" y="273"/>
                  <a:pt x="60" y="273"/>
                  <a:pt x="60" y="273"/>
                </a:cubicBezTo>
                <a:cubicBezTo>
                  <a:pt x="60" y="273"/>
                  <a:pt x="60" y="273"/>
                  <a:pt x="60" y="273"/>
                </a:cubicBezTo>
                <a:cubicBezTo>
                  <a:pt x="59" y="272"/>
                  <a:pt x="59" y="272"/>
                  <a:pt x="59" y="272"/>
                </a:cubicBezTo>
                <a:lnTo>
                  <a:pt x="57" y="270"/>
                </a:lnTo>
                <a:close/>
                <a:moveTo>
                  <a:pt x="61" y="275"/>
                </a:moveTo>
                <a:cubicBezTo>
                  <a:pt x="61" y="274"/>
                  <a:pt x="61" y="274"/>
                  <a:pt x="61" y="274"/>
                </a:cubicBezTo>
                <a:cubicBezTo>
                  <a:pt x="62" y="273"/>
                  <a:pt x="62" y="273"/>
                  <a:pt x="62" y="273"/>
                </a:cubicBezTo>
                <a:cubicBezTo>
                  <a:pt x="62" y="273"/>
                  <a:pt x="62" y="273"/>
                  <a:pt x="62" y="273"/>
                </a:cubicBezTo>
                <a:cubicBezTo>
                  <a:pt x="62" y="273"/>
                  <a:pt x="62" y="273"/>
                  <a:pt x="62" y="273"/>
                </a:cubicBezTo>
                <a:cubicBezTo>
                  <a:pt x="62" y="272"/>
                  <a:pt x="62" y="272"/>
                  <a:pt x="62" y="272"/>
                </a:cubicBezTo>
                <a:cubicBezTo>
                  <a:pt x="63" y="271"/>
                  <a:pt x="63" y="271"/>
                  <a:pt x="63" y="271"/>
                </a:cubicBezTo>
                <a:cubicBezTo>
                  <a:pt x="64" y="271"/>
                  <a:pt x="64" y="271"/>
                  <a:pt x="64" y="271"/>
                </a:cubicBezTo>
                <a:cubicBezTo>
                  <a:pt x="66" y="274"/>
                  <a:pt x="66" y="274"/>
                  <a:pt x="66" y="274"/>
                </a:cubicBezTo>
                <a:cubicBezTo>
                  <a:pt x="67" y="275"/>
                  <a:pt x="67" y="275"/>
                  <a:pt x="67" y="275"/>
                </a:cubicBezTo>
                <a:cubicBezTo>
                  <a:pt x="66" y="276"/>
                  <a:pt x="66" y="276"/>
                  <a:pt x="66" y="276"/>
                </a:cubicBezTo>
                <a:cubicBezTo>
                  <a:pt x="66" y="277"/>
                  <a:pt x="66" y="277"/>
                  <a:pt x="66" y="277"/>
                </a:cubicBezTo>
                <a:cubicBezTo>
                  <a:pt x="66" y="277"/>
                  <a:pt x="66" y="277"/>
                  <a:pt x="66" y="277"/>
                </a:cubicBezTo>
                <a:cubicBezTo>
                  <a:pt x="65" y="277"/>
                  <a:pt x="65" y="277"/>
                  <a:pt x="65" y="277"/>
                </a:cubicBezTo>
                <a:cubicBezTo>
                  <a:pt x="65" y="278"/>
                  <a:pt x="65" y="278"/>
                  <a:pt x="65" y="278"/>
                </a:cubicBezTo>
                <a:cubicBezTo>
                  <a:pt x="64" y="280"/>
                  <a:pt x="64" y="280"/>
                  <a:pt x="64" y="280"/>
                </a:cubicBezTo>
                <a:cubicBezTo>
                  <a:pt x="64" y="280"/>
                  <a:pt x="64" y="280"/>
                  <a:pt x="64" y="280"/>
                </a:cubicBezTo>
                <a:cubicBezTo>
                  <a:pt x="63" y="279"/>
                  <a:pt x="63" y="279"/>
                  <a:pt x="63" y="279"/>
                </a:cubicBezTo>
                <a:lnTo>
                  <a:pt x="61" y="275"/>
                </a:lnTo>
                <a:close/>
                <a:moveTo>
                  <a:pt x="66" y="270"/>
                </a:moveTo>
                <a:cubicBezTo>
                  <a:pt x="68" y="270"/>
                  <a:pt x="68" y="270"/>
                  <a:pt x="68" y="270"/>
                </a:cubicBezTo>
                <a:cubicBezTo>
                  <a:pt x="70" y="270"/>
                  <a:pt x="70" y="270"/>
                  <a:pt x="70" y="270"/>
                </a:cubicBezTo>
                <a:cubicBezTo>
                  <a:pt x="69" y="271"/>
                  <a:pt x="69" y="271"/>
                  <a:pt x="69" y="271"/>
                </a:cubicBezTo>
                <a:cubicBezTo>
                  <a:pt x="68" y="273"/>
                  <a:pt x="68" y="273"/>
                  <a:pt x="68" y="273"/>
                </a:cubicBezTo>
                <a:lnTo>
                  <a:pt x="66" y="270"/>
                </a:lnTo>
                <a:close/>
                <a:moveTo>
                  <a:pt x="66" y="279"/>
                </a:moveTo>
                <a:cubicBezTo>
                  <a:pt x="67" y="278"/>
                  <a:pt x="67" y="278"/>
                  <a:pt x="67" y="278"/>
                </a:cubicBezTo>
                <a:cubicBezTo>
                  <a:pt x="67" y="278"/>
                  <a:pt x="67" y="278"/>
                  <a:pt x="67" y="278"/>
                </a:cubicBezTo>
                <a:cubicBezTo>
                  <a:pt x="67" y="278"/>
                  <a:pt x="67" y="278"/>
                  <a:pt x="67" y="278"/>
                </a:cubicBezTo>
                <a:cubicBezTo>
                  <a:pt x="68" y="277"/>
                  <a:pt x="68" y="277"/>
                  <a:pt x="68" y="277"/>
                </a:cubicBezTo>
                <a:cubicBezTo>
                  <a:pt x="68" y="277"/>
                  <a:pt x="68" y="277"/>
                  <a:pt x="68" y="277"/>
                </a:cubicBezTo>
                <a:cubicBezTo>
                  <a:pt x="71" y="280"/>
                  <a:pt x="71" y="280"/>
                  <a:pt x="71" y="280"/>
                </a:cubicBezTo>
                <a:cubicBezTo>
                  <a:pt x="71" y="280"/>
                  <a:pt x="71" y="280"/>
                  <a:pt x="71" y="280"/>
                </a:cubicBezTo>
                <a:cubicBezTo>
                  <a:pt x="70" y="280"/>
                  <a:pt x="70" y="280"/>
                  <a:pt x="70" y="280"/>
                </a:cubicBezTo>
                <a:cubicBezTo>
                  <a:pt x="69" y="280"/>
                  <a:pt x="69" y="280"/>
                  <a:pt x="69" y="280"/>
                </a:cubicBezTo>
                <a:cubicBezTo>
                  <a:pt x="69" y="280"/>
                  <a:pt x="69" y="280"/>
                  <a:pt x="69" y="280"/>
                </a:cubicBezTo>
                <a:cubicBezTo>
                  <a:pt x="68" y="280"/>
                  <a:pt x="68" y="280"/>
                  <a:pt x="68" y="280"/>
                </a:cubicBezTo>
                <a:cubicBezTo>
                  <a:pt x="66" y="280"/>
                  <a:pt x="66" y="280"/>
                  <a:pt x="66" y="280"/>
                </a:cubicBezTo>
                <a:lnTo>
                  <a:pt x="66" y="279"/>
                </a:lnTo>
                <a:close/>
                <a:moveTo>
                  <a:pt x="69" y="275"/>
                </a:moveTo>
                <a:cubicBezTo>
                  <a:pt x="70" y="273"/>
                  <a:pt x="70" y="273"/>
                  <a:pt x="70" y="273"/>
                </a:cubicBezTo>
                <a:cubicBezTo>
                  <a:pt x="71" y="272"/>
                  <a:pt x="71" y="272"/>
                  <a:pt x="71" y="272"/>
                </a:cubicBezTo>
                <a:cubicBezTo>
                  <a:pt x="71" y="273"/>
                  <a:pt x="71" y="273"/>
                  <a:pt x="71" y="273"/>
                </a:cubicBezTo>
                <a:cubicBezTo>
                  <a:pt x="71" y="275"/>
                  <a:pt x="71" y="276"/>
                  <a:pt x="72" y="278"/>
                </a:cubicBezTo>
                <a:lnTo>
                  <a:pt x="69" y="275"/>
                </a:lnTo>
                <a:close/>
                <a:moveTo>
                  <a:pt x="71" y="246"/>
                </a:moveTo>
                <a:cubicBezTo>
                  <a:pt x="71" y="243"/>
                  <a:pt x="71" y="243"/>
                  <a:pt x="71" y="243"/>
                </a:cubicBezTo>
                <a:cubicBezTo>
                  <a:pt x="70" y="242"/>
                  <a:pt x="70" y="242"/>
                  <a:pt x="70" y="242"/>
                </a:cubicBezTo>
                <a:cubicBezTo>
                  <a:pt x="70" y="239"/>
                  <a:pt x="70" y="237"/>
                  <a:pt x="70" y="234"/>
                </a:cubicBezTo>
                <a:cubicBezTo>
                  <a:pt x="76" y="240"/>
                  <a:pt x="76" y="240"/>
                  <a:pt x="76" y="240"/>
                </a:cubicBezTo>
                <a:cubicBezTo>
                  <a:pt x="73" y="244"/>
                  <a:pt x="73" y="244"/>
                  <a:pt x="73" y="244"/>
                </a:cubicBezTo>
                <a:cubicBezTo>
                  <a:pt x="72" y="245"/>
                  <a:pt x="72" y="245"/>
                  <a:pt x="72" y="245"/>
                </a:cubicBezTo>
                <a:lnTo>
                  <a:pt x="71" y="246"/>
                </a:lnTo>
                <a:close/>
                <a:moveTo>
                  <a:pt x="70" y="229"/>
                </a:moveTo>
                <a:cubicBezTo>
                  <a:pt x="70" y="226"/>
                  <a:pt x="70" y="226"/>
                  <a:pt x="70" y="226"/>
                </a:cubicBezTo>
                <a:cubicBezTo>
                  <a:pt x="69" y="223"/>
                  <a:pt x="69" y="223"/>
                  <a:pt x="69" y="223"/>
                </a:cubicBezTo>
                <a:cubicBezTo>
                  <a:pt x="69" y="219"/>
                  <a:pt x="69" y="219"/>
                  <a:pt x="69" y="219"/>
                </a:cubicBezTo>
                <a:cubicBezTo>
                  <a:pt x="74" y="224"/>
                  <a:pt x="74" y="224"/>
                  <a:pt x="74" y="224"/>
                </a:cubicBezTo>
                <a:cubicBezTo>
                  <a:pt x="73" y="226"/>
                  <a:pt x="73" y="226"/>
                  <a:pt x="73" y="226"/>
                </a:cubicBezTo>
                <a:cubicBezTo>
                  <a:pt x="71" y="227"/>
                  <a:pt x="71" y="227"/>
                  <a:pt x="71" y="227"/>
                </a:cubicBezTo>
                <a:lnTo>
                  <a:pt x="70" y="229"/>
                </a:lnTo>
                <a:close/>
                <a:moveTo>
                  <a:pt x="70" y="260"/>
                </a:moveTo>
                <a:cubicBezTo>
                  <a:pt x="70" y="260"/>
                  <a:pt x="70" y="260"/>
                  <a:pt x="70" y="260"/>
                </a:cubicBezTo>
                <a:cubicBezTo>
                  <a:pt x="65" y="255"/>
                  <a:pt x="65" y="255"/>
                  <a:pt x="65" y="255"/>
                </a:cubicBezTo>
                <a:cubicBezTo>
                  <a:pt x="67" y="253"/>
                  <a:pt x="67" y="253"/>
                  <a:pt x="67" y="253"/>
                </a:cubicBezTo>
                <a:cubicBezTo>
                  <a:pt x="68" y="252"/>
                  <a:pt x="68" y="252"/>
                  <a:pt x="68" y="252"/>
                </a:cubicBezTo>
                <a:cubicBezTo>
                  <a:pt x="69" y="251"/>
                  <a:pt x="69" y="251"/>
                  <a:pt x="69" y="251"/>
                </a:cubicBezTo>
                <a:cubicBezTo>
                  <a:pt x="69" y="254"/>
                  <a:pt x="69" y="254"/>
                  <a:pt x="69" y="254"/>
                </a:cubicBezTo>
                <a:cubicBezTo>
                  <a:pt x="70" y="256"/>
                  <a:pt x="70" y="256"/>
                  <a:pt x="70" y="256"/>
                </a:cubicBezTo>
                <a:cubicBezTo>
                  <a:pt x="70" y="258"/>
                  <a:pt x="70" y="259"/>
                  <a:pt x="70" y="260"/>
                </a:cubicBezTo>
                <a:close/>
                <a:moveTo>
                  <a:pt x="69" y="214"/>
                </a:moveTo>
                <a:cubicBezTo>
                  <a:pt x="69" y="211"/>
                  <a:pt x="69" y="211"/>
                  <a:pt x="69" y="211"/>
                </a:cubicBezTo>
                <a:cubicBezTo>
                  <a:pt x="69" y="208"/>
                  <a:pt x="69" y="208"/>
                  <a:pt x="69" y="208"/>
                </a:cubicBezTo>
                <a:cubicBezTo>
                  <a:pt x="68" y="205"/>
                  <a:pt x="68" y="205"/>
                  <a:pt x="68" y="205"/>
                </a:cubicBezTo>
                <a:cubicBezTo>
                  <a:pt x="68" y="205"/>
                  <a:pt x="68" y="205"/>
                  <a:pt x="68" y="205"/>
                </a:cubicBezTo>
                <a:cubicBezTo>
                  <a:pt x="71" y="207"/>
                  <a:pt x="71" y="207"/>
                  <a:pt x="71" y="207"/>
                </a:cubicBezTo>
                <a:cubicBezTo>
                  <a:pt x="73" y="209"/>
                  <a:pt x="73" y="209"/>
                  <a:pt x="73" y="209"/>
                </a:cubicBezTo>
                <a:cubicBezTo>
                  <a:pt x="72" y="211"/>
                  <a:pt x="72" y="211"/>
                  <a:pt x="72" y="211"/>
                </a:cubicBezTo>
                <a:cubicBezTo>
                  <a:pt x="70" y="212"/>
                  <a:pt x="70" y="212"/>
                  <a:pt x="70" y="212"/>
                </a:cubicBezTo>
                <a:lnTo>
                  <a:pt x="69" y="214"/>
                </a:lnTo>
                <a:close/>
                <a:moveTo>
                  <a:pt x="68" y="240"/>
                </a:moveTo>
                <a:cubicBezTo>
                  <a:pt x="69" y="242"/>
                  <a:pt x="69" y="242"/>
                  <a:pt x="69" y="242"/>
                </a:cubicBezTo>
                <a:cubicBezTo>
                  <a:pt x="69" y="245"/>
                  <a:pt x="69" y="245"/>
                  <a:pt x="69" y="245"/>
                </a:cubicBezTo>
                <a:cubicBezTo>
                  <a:pt x="64" y="240"/>
                  <a:pt x="64" y="240"/>
                  <a:pt x="64" y="240"/>
                </a:cubicBezTo>
                <a:cubicBezTo>
                  <a:pt x="65" y="238"/>
                  <a:pt x="65" y="238"/>
                  <a:pt x="65" y="238"/>
                </a:cubicBezTo>
                <a:cubicBezTo>
                  <a:pt x="66" y="237"/>
                  <a:pt x="66" y="237"/>
                  <a:pt x="66" y="237"/>
                </a:cubicBezTo>
                <a:cubicBezTo>
                  <a:pt x="68" y="235"/>
                  <a:pt x="68" y="235"/>
                  <a:pt x="68" y="235"/>
                </a:cubicBezTo>
                <a:cubicBezTo>
                  <a:pt x="68" y="236"/>
                  <a:pt x="68" y="238"/>
                  <a:pt x="68" y="240"/>
                </a:cubicBezTo>
                <a:close/>
                <a:moveTo>
                  <a:pt x="66" y="183"/>
                </a:moveTo>
                <a:cubicBezTo>
                  <a:pt x="66" y="184"/>
                  <a:pt x="66" y="184"/>
                  <a:pt x="66" y="184"/>
                </a:cubicBezTo>
                <a:cubicBezTo>
                  <a:pt x="66" y="186"/>
                  <a:pt x="66" y="186"/>
                  <a:pt x="66" y="186"/>
                </a:cubicBezTo>
                <a:cubicBezTo>
                  <a:pt x="66" y="189"/>
                  <a:pt x="66" y="189"/>
                  <a:pt x="66" y="189"/>
                </a:cubicBezTo>
                <a:cubicBezTo>
                  <a:pt x="64" y="186"/>
                  <a:pt x="64" y="186"/>
                  <a:pt x="64" y="186"/>
                </a:cubicBezTo>
                <a:cubicBezTo>
                  <a:pt x="65" y="185"/>
                  <a:pt x="65" y="185"/>
                  <a:pt x="65" y="185"/>
                </a:cubicBezTo>
                <a:cubicBezTo>
                  <a:pt x="65" y="184"/>
                  <a:pt x="65" y="184"/>
                  <a:pt x="65" y="184"/>
                </a:cubicBezTo>
                <a:lnTo>
                  <a:pt x="66" y="183"/>
                </a:lnTo>
                <a:close/>
                <a:moveTo>
                  <a:pt x="63" y="175"/>
                </a:moveTo>
                <a:cubicBezTo>
                  <a:pt x="64" y="174"/>
                  <a:pt x="64" y="174"/>
                  <a:pt x="64" y="174"/>
                </a:cubicBezTo>
                <a:cubicBezTo>
                  <a:pt x="65" y="172"/>
                  <a:pt x="65" y="172"/>
                  <a:pt x="65" y="172"/>
                </a:cubicBezTo>
                <a:cubicBezTo>
                  <a:pt x="65" y="175"/>
                  <a:pt x="65" y="175"/>
                  <a:pt x="65" y="175"/>
                </a:cubicBezTo>
                <a:cubicBezTo>
                  <a:pt x="65" y="178"/>
                  <a:pt x="65" y="178"/>
                  <a:pt x="65" y="178"/>
                </a:cubicBezTo>
                <a:lnTo>
                  <a:pt x="63" y="175"/>
                </a:lnTo>
                <a:close/>
                <a:moveTo>
                  <a:pt x="67" y="205"/>
                </a:moveTo>
                <a:cubicBezTo>
                  <a:pt x="67" y="206"/>
                  <a:pt x="67" y="206"/>
                  <a:pt x="67" y="206"/>
                </a:cubicBezTo>
                <a:cubicBezTo>
                  <a:pt x="67" y="209"/>
                  <a:pt x="67" y="209"/>
                  <a:pt x="67" y="209"/>
                </a:cubicBezTo>
                <a:cubicBezTo>
                  <a:pt x="67" y="214"/>
                  <a:pt x="67" y="214"/>
                  <a:pt x="67" y="214"/>
                </a:cubicBezTo>
                <a:cubicBezTo>
                  <a:pt x="64" y="209"/>
                  <a:pt x="64" y="209"/>
                  <a:pt x="64" y="209"/>
                </a:cubicBezTo>
                <a:cubicBezTo>
                  <a:pt x="65" y="208"/>
                  <a:pt x="65" y="208"/>
                  <a:pt x="65" y="208"/>
                </a:cubicBezTo>
                <a:cubicBezTo>
                  <a:pt x="66" y="206"/>
                  <a:pt x="66" y="206"/>
                  <a:pt x="66" y="206"/>
                </a:cubicBezTo>
                <a:lnTo>
                  <a:pt x="67" y="205"/>
                </a:lnTo>
                <a:close/>
                <a:moveTo>
                  <a:pt x="64" y="197"/>
                </a:moveTo>
                <a:cubicBezTo>
                  <a:pt x="65" y="196"/>
                  <a:pt x="65" y="196"/>
                  <a:pt x="65" y="196"/>
                </a:cubicBezTo>
                <a:cubicBezTo>
                  <a:pt x="66" y="194"/>
                  <a:pt x="66" y="194"/>
                  <a:pt x="66" y="194"/>
                </a:cubicBezTo>
                <a:cubicBezTo>
                  <a:pt x="66" y="197"/>
                  <a:pt x="66" y="197"/>
                  <a:pt x="66" y="197"/>
                </a:cubicBezTo>
                <a:cubicBezTo>
                  <a:pt x="66" y="200"/>
                  <a:pt x="66" y="200"/>
                  <a:pt x="66" y="200"/>
                </a:cubicBezTo>
                <a:lnTo>
                  <a:pt x="64" y="197"/>
                </a:lnTo>
                <a:close/>
                <a:moveTo>
                  <a:pt x="67" y="219"/>
                </a:moveTo>
                <a:cubicBezTo>
                  <a:pt x="67" y="221"/>
                  <a:pt x="67" y="221"/>
                  <a:pt x="67" y="221"/>
                </a:cubicBezTo>
                <a:cubicBezTo>
                  <a:pt x="68" y="224"/>
                  <a:pt x="68" y="224"/>
                  <a:pt x="68" y="224"/>
                </a:cubicBezTo>
                <a:cubicBezTo>
                  <a:pt x="68" y="226"/>
                  <a:pt x="68" y="227"/>
                  <a:pt x="68" y="229"/>
                </a:cubicBezTo>
                <a:cubicBezTo>
                  <a:pt x="64" y="224"/>
                  <a:pt x="64" y="224"/>
                  <a:pt x="64" y="224"/>
                </a:cubicBezTo>
                <a:cubicBezTo>
                  <a:pt x="65" y="222"/>
                  <a:pt x="65" y="222"/>
                  <a:pt x="65" y="222"/>
                </a:cubicBezTo>
                <a:cubicBezTo>
                  <a:pt x="67" y="220"/>
                  <a:pt x="67" y="220"/>
                  <a:pt x="67" y="220"/>
                </a:cubicBezTo>
                <a:lnTo>
                  <a:pt x="67" y="219"/>
                </a:lnTo>
                <a:close/>
                <a:moveTo>
                  <a:pt x="67" y="178"/>
                </a:moveTo>
                <a:cubicBezTo>
                  <a:pt x="67" y="177"/>
                  <a:pt x="67" y="177"/>
                  <a:pt x="67" y="177"/>
                </a:cubicBezTo>
                <a:cubicBezTo>
                  <a:pt x="67" y="174"/>
                  <a:pt x="67" y="174"/>
                  <a:pt x="67" y="174"/>
                </a:cubicBezTo>
                <a:cubicBezTo>
                  <a:pt x="67" y="172"/>
                  <a:pt x="67" y="172"/>
                  <a:pt x="67" y="172"/>
                </a:cubicBezTo>
                <a:cubicBezTo>
                  <a:pt x="67" y="171"/>
                  <a:pt x="67" y="171"/>
                  <a:pt x="67" y="171"/>
                </a:cubicBezTo>
                <a:cubicBezTo>
                  <a:pt x="70" y="175"/>
                  <a:pt x="70" y="175"/>
                  <a:pt x="70" y="175"/>
                </a:cubicBezTo>
                <a:cubicBezTo>
                  <a:pt x="70" y="175"/>
                  <a:pt x="70" y="175"/>
                  <a:pt x="70" y="175"/>
                </a:cubicBezTo>
                <a:cubicBezTo>
                  <a:pt x="69" y="176"/>
                  <a:pt x="69" y="176"/>
                  <a:pt x="69" y="176"/>
                </a:cubicBezTo>
                <a:cubicBezTo>
                  <a:pt x="68" y="177"/>
                  <a:pt x="68" y="177"/>
                  <a:pt x="68" y="177"/>
                </a:cubicBezTo>
                <a:lnTo>
                  <a:pt x="67" y="178"/>
                </a:lnTo>
                <a:close/>
                <a:moveTo>
                  <a:pt x="67" y="166"/>
                </a:moveTo>
                <a:cubicBezTo>
                  <a:pt x="67" y="165"/>
                  <a:pt x="67" y="165"/>
                  <a:pt x="67" y="165"/>
                </a:cubicBezTo>
                <a:cubicBezTo>
                  <a:pt x="67" y="162"/>
                  <a:pt x="67" y="162"/>
                  <a:pt x="67" y="162"/>
                </a:cubicBezTo>
                <a:cubicBezTo>
                  <a:pt x="67" y="160"/>
                  <a:pt x="67" y="160"/>
                  <a:pt x="67" y="160"/>
                </a:cubicBezTo>
                <a:cubicBezTo>
                  <a:pt x="69" y="163"/>
                  <a:pt x="69" y="163"/>
                  <a:pt x="69" y="163"/>
                </a:cubicBezTo>
                <a:cubicBezTo>
                  <a:pt x="69" y="164"/>
                  <a:pt x="69" y="164"/>
                  <a:pt x="69" y="164"/>
                </a:cubicBezTo>
                <a:cubicBezTo>
                  <a:pt x="67" y="165"/>
                  <a:pt x="67" y="165"/>
                  <a:pt x="67" y="165"/>
                </a:cubicBezTo>
                <a:lnTo>
                  <a:pt x="67" y="166"/>
                </a:lnTo>
                <a:close/>
                <a:moveTo>
                  <a:pt x="67" y="155"/>
                </a:moveTo>
                <a:cubicBezTo>
                  <a:pt x="66" y="155"/>
                  <a:pt x="66" y="155"/>
                  <a:pt x="66" y="155"/>
                </a:cubicBezTo>
                <a:cubicBezTo>
                  <a:pt x="66" y="154"/>
                  <a:pt x="66" y="154"/>
                  <a:pt x="66" y="154"/>
                </a:cubicBezTo>
                <a:cubicBezTo>
                  <a:pt x="66" y="153"/>
                  <a:pt x="66" y="153"/>
                  <a:pt x="66" y="153"/>
                </a:cubicBezTo>
                <a:cubicBezTo>
                  <a:pt x="66" y="152"/>
                  <a:pt x="66" y="152"/>
                  <a:pt x="66" y="152"/>
                </a:cubicBezTo>
                <a:cubicBezTo>
                  <a:pt x="66" y="151"/>
                  <a:pt x="66" y="151"/>
                  <a:pt x="66" y="151"/>
                </a:cubicBezTo>
                <a:cubicBezTo>
                  <a:pt x="69" y="153"/>
                  <a:pt x="69" y="153"/>
                  <a:pt x="69" y="153"/>
                </a:cubicBezTo>
                <a:cubicBezTo>
                  <a:pt x="68" y="153"/>
                  <a:pt x="68" y="153"/>
                  <a:pt x="68" y="153"/>
                </a:cubicBezTo>
                <a:cubicBezTo>
                  <a:pt x="67" y="154"/>
                  <a:pt x="67" y="154"/>
                  <a:pt x="67" y="154"/>
                </a:cubicBezTo>
                <a:lnTo>
                  <a:pt x="67" y="155"/>
                </a:lnTo>
                <a:close/>
                <a:moveTo>
                  <a:pt x="66" y="146"/>
                </a:moveTo>
                <a:cubicBezTo>
                  <a:pt x="66" y="146"/>
                  <a:pt x="66" y="146"/>
                  <a:pt x="66" y="146"/>
                </a:cubicBezTo>
                <a:cubicBezTo>
                  <a:pt x="66" y="146"/>
                  <a:pt x="66" y="146"/>
                  <a:pt x="66" y="146"/>
                </a:cubicBezTo>
                <a:cubicBezTo>
                  <a:pt x="66" y="144"/>
                  <a:pt x="66" y="144"/>
                  <a:pt x="66" y="144"/>
                </a:cubicBezTo>
                <a:cubicBezTo>
                  <a:pt x="66" y="143"/>
                  <a:pt x="66" y="143"/>
                  <a:pt x="66" y="143"/>
                </a:cubicBezTo>
                <a:cubicBezTo>
                  <a:pt x="68" y="144"/>
                  <a:pt x="68" y="144"/>
                  <a:pt x="68" y="144"/>
                </a:cubicBezTo>
                <a:cubicBezTo>
                  <a:pt x="67" y="145"/>
                  <a:pt x="67" y="145"/>
                  <a:pt x="67" y="145"/>
                </a:cubicBezTo>
                <a:lnTo>
                  <a:pt x="66" y="146"/>
                </a:lnTo>
                <a:close/>
                <a:moveTo>
                  <a:pt x="66" y="138"/>
                </a:moveTo>
                <a:cubicBezTo>
                  <a:pt x="66" y="138"/>
                  <a:pt x="66" y="138"/>
                  <a:pt x="66" y="138"/>
                </a:cubicBezTo>
                <a:cubicBezTo>
                  <a:pt x="66" y="138"/>
                  <a:pt x="66" y="138"/>
                  <a:pt x="66" y="138"/>
                </a:cubicBezTo>
                <a:cubicBezTo>
                  <a:pt x="66" y="136"/>
                  <a:pt x="66" y="136"/>
                  <a:pt x="66" y="136"/>
                </a:cubicBezTo>
                <a:cubicBezTo>
                  <a:pt x="66" y="134"/>
                  <a:pt x="66" y="134"/>
                  <a:pt x="66" y="134"/>
                </a:cubicBezTo>
                <a:cubicBezTo>
                  <a:pt x="68" y="136"/>
                  <a:pt x="68" y="136"/>
                  <a:pt x="68" y="136"/>
                </a:cubicBezTo>
                <a:cubicBezTo>
                  <a:pt x="67" y="137"/>
                  <a:pt x="67" y="137"/>
                  <a:pt x="67" y="137"/>
                </a:cubicBezTo>
                <a:lnTo>
                  <a:pt x="66" y="138"/>
                </a:lnTo>
                <a:close/>
                <a:moveTo>
                  <a:pt x="65" y="129"/>
                </a:moveTo>
                <a:cubicBezTo>
                  <a:pt x="65" y="128"/>
                  <a:pt x="65" y="128"/>
                  <a:pt x="65" y="128"/>
                </a:cubicBezTo>
                <a:cubicBezTo>
                  <a:pt x="65" y="126"/>
                  <a:pt x="65" y="126"/>
                  <a:pt x="65" y="126"/>
                </a:cubicBezTo>
                <a:cubicBezTo>
                  <a:pt x="65" y="124"/>
                  <a:pt x="65" y="124"/>
                  <a:pt x="65" y="124"/>
                </a:cubicBezTo>
                <a:cubicBezTo>
                  <a:pt x="65" y="124"/>
                  <a:pt x="65" y="124"/>
                  <a:pt x="65" y="124"/>
                </a:cubicBezTo>
                <a:cubicBezTo>
                  <a:pt x="67" y="126"/>
                  <a:pt x="67" y="126"/>
                  <a:pt x="67" y="126"/>
                </a:cubicBezTo>
                <a:cubicBezTo>
                  <a:pt x="67" y="126"/>
                  <a:pt x="67" y="126"/>
                  <a:pt x="67" y="126"/>
                </a:cubicBezTo>
                <a:cubicBezTo>
                  <a:pt x="67" y="127"/>
                  <a:pt x="67" y="127"/>
                  <a:pt x="67" y="127"/>
                </a:cubicBezTo>
                <a:cubicBezTo>
                  <a:pt x="66" y="128"/>
                  <a:pt x="66" y="128"/>
                  <a:pt x="66" y="128"/>
                </a:cubicBezTo>
                <a:lnTo>
                  <a:pt x="65" y="129"/>
                </a:lnTo>
                <a:close/>
                <a:moveTo>
                  <a:pt x="65" y="97"/>
                </a:moveTo>
                <a:cubicBezTo>
                  <a:pt x="64" y="97"/>
                  <a:pt x="64" y="97"/>
                  <a:pt x="64" y="97"/>
                </a:cubicBezTo>
                <a:cubicBezTo>
                  <a:pt x="64" y="97"/>
                  <a:pt x="64" y="97"/>
                  <a:pt x="64" y="97"/>
                </a:cubicBezTo>
                <a:cubicBezTo>
                  <a:pt x="64" y="97"/>
                  <a:pt x="64" y="97"/>
                  <a:pt x="64" y="97"/>
                </a:cubicBezTo>
                <a:cubicBezTo>
                  <a:pt x="64" y="96"/>
                  <a:pt x="64" y="96"/>
                  <a:pt x="64" y="96"/>
                </a:cubicBezTo>
                <a:cubicBezTo>
                  <a:pt x="64" y="94"/>
                  <a:pt x="64" y="94"/>
                  <a:pt x="64" y="94"/>
                </a:cubicBezTo>
                <a:cubicBezTo>
                  <a:pt x="66" y="96"/>
                  <a:pt x="66" y="96"/>
                  <a:pt x="66" y="96"/>
                </a:cubicBezTo>
                <a:lnTo>
                  <a:pt x="65" y="97"/>
                </a:lnTo>
                <a:close/>
                <a:moveTo>
                  <a:pt x="65" y="166"/>
                </a:moveTo>
                <a:cubicBezTo>
                  <a:pt x="63" y="163"/>
                  <a:pt x="63" y="163"/>
                  <a:pt x="63" y="163"/>
                </a:cubicBezTo>
                <a:cubicBezTo>
                  <a:pt x="64" y="162"/>
                  <a:pt x="64" y="162"/>
                  <a:pt x="64" y="162"/>
                </a:cubicBezTo>
                <a:cubicBezTo>
                  <a:pt x="65" y="160"/>
                  <a:pt x="65" y="160"/>
                  <a:pt x="65" y="160"/>
                </a:cubicBezTo>
                <a:cubicBezTo>
                  <a:pt x="65" y="163"/>
                  <a:pt x="65" y="163"/>
                  <a:pt x="65" y="163"/>
                </a:cubicBezTo>
                <a:lnTo>
                  <a:pt x="65" y="166"/>
                </a:lnTo>
                <a:close/>
                <a:moveTo>
                  <a:pt x="65" y="86"/>
                </a:moveTo>
                <a:cubicBezTo>
                  <a:pt x="64" y="87"/>
                  <a:pt x="64" y="87"/>
                  <a:pt x="64" y="87"/>
                </a:cubicBezTo>
                <a:cubicBezTo>
                  <a:pt x="64" y="87"/>
                  <a:pt x="64" y="87"/>
                  <a:pt x="64" y="87"/>
                </a:cubicBezTo>
                <a:cubicBezTo>
                  <a:pt x="64" y="87"/>
                  <a:pt x="64" y="87"/>
                  <a:pt x="64" y="87"/>
                </a:cubicBezTo>
                <a:cubicBezTo>
                  <a:pt x="64" y="86"/>
                  <a:pt x="64" y="86"/>
                  <a:pt x="64" y="86"/>
                </a:cubicBezTo>
                <a:cubicBezTo>
                  <a:pt x="64" y="84"/>
                  <a:pt x="64" y="84"/>
                  <a:pt x="64" y="84"/>
                </a:cubicBezTo>
                <a:cubicBezTo>
                  <a:pt x="65" y="86"/>
                  <a:pt x="65" y="86"/>
                  <a:pt x="65" y="86"/>
                </a:cubicBezTo>
                <a:close/>
                <a:moveTo>
                  <a:pt x="64" y="143"/>
                </a:moveTo>
                <a:cubicBezTo>
                  <a:pt x="64" y="144"/>
                  <a:pt x="64" y="144"/>
                  <a:pt x="64" y="144"/>
                </a:cubicBezTo>
                <a:cubicBezTo>
                  <a:pt x="64" y="146"/>
                  <a:pt x="64" y="146"/>
                  <a:pt x="64" y="146"/>
                </a:cubicBezTo>
                <a:cubicBezTo>
                  <a:pt x="63" y="144"/>
                  <a:pt x="63" y="144"/>
                  <a:pt x="63" y="144"/>
                </a:cubicBezTo>
                <a:cubicBezTo>
                  <a:pt x="64" y="144"/>
                  <a:pt x="64" y="144"/>
                  <a:pt x="64" y="144"/>
                </a:cubicBezTo>
                <a:lnTo>
                  <a:pt x="64" y="143"/>
                </a:lnTo>
                <a:close/>
                <a:moveTo>
                  <a:pt x="63" y="141"/>
                </a:moveTo>
                <a:cubicBezTo>
                  <a:pt x="63" y="141"/>
                  <a:pt x="63" y="141"/>
                  <a:pt x="63" y="141"/>
                </a:cubicBezTo>
                <a:cubicBezTo>
                  <a:pt x="62" y="142"/>
                  <a:pt x="62" y="142"/>
                  <a:pt x="62" y="142"/>
                </a:cubicBezTo>
                <a:cubicBezTo>
                  <a:pt x="62" y="143"/>
                  <a:pt x="62" y="143"/>
                  <a:pt x="62" y="143"/>
                </a:cubicBezTo>
                <a:cubicBezTo>
                  <a:pt x="60" y="141"/>
                  <a:pt x="60" y="141"/>
                  <a:pt x="60" y="141"/>
                </a:cubicBezTo>
                <a:cubicBezTo>
                  <a:pt x="61" y="141"/>
                  <a:pt x="61" y="141"/>
                  <a:pt x="61" y="141"/>
                </a:cubicBezTo>
                <a:cubicBezTo>
                  <a:pt x="63" y="141"/>
                  <a:pt x="63" y="141"/>
                  <a:pt x="63" y="141"/>
                </a:cubicBezTo>
                <a:close/>
                <a:moveTo>
                  <a:pt x="63" y="158"/>
                </a:moveTo>
                <a:cubicBezTo>
                  <a:pt x="64" y="158"/>
                  <a:pt x="64" y="158"/>
                  <a:pt x="64" y="158"/>
                </a:cubicBezTo>
                <a:cubicBezTo>
                  <a:pt x="64" y="159"/>
                  <a:pt x="64" y="159"/>
                  <a:pt x="64" y="159"/>
                </a:cubicBezTo>
                <a:cubicBezTo>
                  <a:pt x="62" y="161"/>
                  <a:pt x="62" y="161"/>
                  <a:pt x="62" y="161"/>
                </a:cubicBezTo>
                <a:cubicBezTo>
                  <a:pt x="62" y="161"/>
                  <a:pt x="62" y="161"/>
                  <a:pt x="62" y="161"/>
                </a:cubicBezTo>
                <a:cubicBezTo>
                  <a:pt x="60" y="159"/>
                  <a:pt x="60" y="159"/>
                  <a:pt x="60" y="159"/>
                </a:cubicBezTo>
                <a:cubicBezTo>
                  <a:pt x="60" y="158"/>
                  <a:pt x="60" y="158"/>
                  <a:pt x="60" y="158"/>
                </a:cubicBezTo>
                <a:lnTo>
                  <a:pt x="63" y="158"/>
                </a:lnTo>
                <a:close/>
                <a:moveTo>
                  <a:pt x="62" y="165"/>
                </a:moveTo>
                <a:cubicBezTo>
                  <a:pt x="64" y="168"/>
                  <a:pt x="64" y="168"/>
                  <a:pt x="64" y="168"/>
                </a:cubicBezTo>
                <a:cubicBezTo>
                  <a:pt x="63" y="168"/>
                  <a:pt x="63" y="168"/>
                  <a:pt x="63" y="168"/>
                </a:cubicBezTo>
                <a:cubicBezTo>
                  <a:pt x="61" y="168"/>
                  <a:pt x="61" y="168"/>
                  <a:pt x="61" y="168"/>
                </a:cubicBezTo>
                <a:cubicBezTo>
                  <a:pt x="60" y="168"/>
                  <a:pt x="60" y="168"/>
                  <a:pt x="60" y="168"/>
                </a:cubicBezTo>
                <a:cubicBezTo>
                  <a:pt x="60" y="167"/>
                  <a:pt x="60" y="167"/>
                  <a:pt x="60" y="167"/>
                </a:cubicBezTo>
                <a:cubicBezTo>
                  <a:pt x="61" y="166"/>
                  <a:pt x="61" y="166"/>
                  <a:pt x="61" y="166"/>
                </a:cubicBezTo>
                <a:lnTo>
                  <a:pt x="62" y="165"/>
                </a:lnTo>
                <a:close/>
                <a:moveTo>
                  <a:pt x="60" y="170"/>
                </a:moveTo>
                <a:cubicBezTo>
                  <a:pt x="63" y="170"/>
                  <a:pt x="63" y="170"/>
                  <a:pt x="63" y="170"/>
                </a:cubicBezTo>
                <a:cubicBezTo>
                  <a:pt x="64" y="170"/>
                  <a:pt x="64" y="170"/>
                  <a:pt x="64" y="170"/>
                </a:cubicBezTo>
                <a:cubicBezTo>
                  <a:pt x="64" y="170"/>
                  <a:pt x="64" y="170"/>
                  <a:pt x="64" y="170"/>
                </a:cubicBezTo>
                <a:cubicBezTo>
                  <a:pt x="63" y="172"/>
                  <a:pt x="63" y="172"/>
                  <a:pt x="63" y="172"/>
                </a:cubicBezTo>
                <a:cubicBezTo>
                  <a:pt x="62" y="173"/>
                  <a:pt x="62" y="173"/>
                  <a:pt x="62" y="173"/>
                </a:cubicBezTo>
                <a:cubicBezTo>
                  <a:pt x="60" y="170"/>
                  <a:pt x="60" y="170"/>
                  <a:pt x="60" y="170"/>
                </a:cubicBezTo>
                <a:close/>
                <a:moveTo>
                  <a:pt x="62" y="176"/>
                </a:moveTo>
                <a:cubicBezTo>
                  <a:pt x="65" y="180"/>
                  <a:pt x="65" y="180"/>
                  <a:pt x="65" y="180"/>
                </a:cubicBezTo>
                <a:cubicBezTo>
                  <a:pt x="64" y="180"/>
                  <a:pt x="64" y="180"/>
                  <a:pt x="64" y="180"/>
                </a:cubicBezTo>
                <a:cubicBezTo>
                  <a:pt x="61" y="180"/>
                  <a:pt x="61" y="180"/>
                  <a:pt x="61" y="180"/>
                </a:cubicBezTo>
                <a:cubicBezTo>
                  <a:pt x="60" y="180"/>
                  <a:pt x="60" y="180"/>
                  <a:pt x="60" y="180"/>
                </a:cubicBezTo>
                <a:cubicBezTo>
                  <a:pt x="60" y="179"/>
                  <a:pt x="60" y="179"/>
                  <a:pt x="60" y="179"/>
                </a:cubicBezTo>
                <a:cubicBezTo>
                  <a:pt x="61" y="178"/>
                  <a:pt x="61" y="178"/>
                  <a:pt x="61" y="178"/>
                </a:cubicBezTo>
                <a:lnTo>
                  <a:pt x="62" y="176"/>
                </a:lnTo>
                <a:close/>
                <a:moveTo>
                  <a:pt x="62" y="182"/>
                </a:moveTo>
                <a:cubicBezTo>
                  <a:pt x="63" y="182"/>
                  <a:pt x="63" y="182"/>
                  <a:pt x="63" y="182"/>
                </a:cubicBezTo>
                <a:cubicBezTo>
                  <a:pt x="64" y="182"/>
                  <a:pt x="64" y="182"/>
                  <a:pt x="64" y="182"/>
                </a:cubicBezTo>
                <a:cubicBezTo>
                  <a:pt x="64" y="182"/>
                  <a:pt x="64" y="182"/>
                  <a:pt x="64" y="182"/>
                </a:cubicBezTo>
                <a:cubicBezTo>
                  <a:pt x="63" y="183"/>
                  <a:pt x="63" y="183"/>
                  <a:pt x="63" y="183"/>
                </a:cubicBezTo>
                <a:cubicBezTo>
                  <a:pt x="62" y="184"/>
                  <a:pt x="62" y="184"/>
                  <a:pt x="62" y="184"/>
                </a:cubicBezTo>
                <a:cubicBezTo>
                  <a:pt x="60" y="182"/>
                  <a:pt x="60" y="182"/>
                  <a:pt x="60" y="182"/>
                </a:cubicBezTo>
                <a:lnTo>
                  <a:pt x="62" y="182"/>
                </a:lnTo>
                <a:close/>
                <a:moveTo>
                  <a:pt x="62" y="187"/>
                </a:moveTo>
                <a:cubicBezTo>
                  <a:pt x="62" y="187"/>
                  <a:pt x="62" y="187"/>
                  <a:pt x="62" y="187"/>
                </a:cubicBezTo>
                <a:cubicBezTo>
                  <a:pt x="63" y="188"/>
                  <a:pt x="63" y="188"/>
                  <a:pt x="63" y="188"/>
                </a:cubicBezTo>
                <a:cubicBezTo>
                  <a:pt x="65" y="190"/>
                  <a:pt x="65" y="190"/>
                  <a:pt x="65" y="190"/>
                </a:cubicBezTo>
                <a:cubicBezTo>
                  <a:pt x="63" y="190"/>
                  <a:pt x="63" y="190"/>
                  <a:pt x="63" y="190"/>
                </a:cubicBezTo>
                <a:cubicBezTo>
                  <a:pt x="60" y="190"/>
                  <a:pt x="60" y="190"/>
                  <a:pt x="60" y="190"/>
                </a:cubicBezTo>
                <a:cubicBezTo>
                  <a:pt x="61" y="189"/>
                  <a:pt x="61" y="189"/>
                  <a:pt x="61" y="189"/>
                </a:cubicBezTo>
                <a:lnTo>
                  <a:pt x="62" y="187"/>
                </a:lnTo>
                <a:close/>
                <a:moveTo>
                  <a:pt x="61" y="192"/>
                </a:moveTo>
                <a:cubicBezTo>
                  <a:pt x="65" y="192"/>
                  <a:pt x="65" y="192"/>
                  <a:pt x="65" y="192"/>
                </a:cubicBezTo>
                <a:cubicBezTo>
                  <a:pt x="65" y="192"/>
                  <a:pt x="65" y="192"/>
                  <a:pt x="65" y="192"/>
                </a:cubicBezTo>
                <a:cubicBezTo>
                  <a:pt x="65" y="192"/>
                  <a:pt x="65" y="192"/>
                  <a:pt x="65" y="192"/>
                </a:cubicBezTo>
                <a:cubicBezTo>
                  <a:pt x="63" y="194"/>
                  <a:pt x="63" y="194"/>
                  <a:pt x="63" y="194"/>
                </a:cubicBezTo>
                <a:cubicBezTo>
                  <a:pt x="63" y="195"/>
                  <a:pt x="63" y="195"/>
                  <a:pt x="63" y="195"/>
                </a:cubicBezTo>
                <a:cubicBezTo>
                  <a:pt x="60" y="192"/>
                  <a:pt x="60" y="192"/>
                  <a:pt x="60" y="192"/>
                </a:cubicBezTo>
                <a:lnTo>
                  <a:pt x="61" y="192"/>
                </a:lnTo>
                <a:close/>
                <a:moveTo>
                  <a:pt x="63" y="198"/>
                </a:moveTo>
                <a:cubicBezTo>
                  <a:pt x="65" y="201"/>
                  <a:pt x="65" y="201"/>
                  <a:pt x="65" y="201"/>
                </a:cubicBezTo>
                <a:cubicBezTo>
                  <a:pt x="65" y="201"/>
                  <a:pt x="65" y="201"/>
                  <a:pt x="65" y="201"/>
                </a:cubicBezTo>
                <a:cubicBezTo>
                  <a:pt x="62" y="201"/>
                  <a:pt x="62" y="201"/>
                  <a:pt x="62" y="201"/>
                </a:cubicBezTo>
                <a:cubicBezTo>
                  <a:pt x="60" y="202"/>
                  <a:pt x="60" y="202"/>
                  <a:pt x="60" y="202"/>
                </a:cubicBezTo>
                <a:cubicBezTo>
                  <a:pt x="61" y="201"/>
                  <a:pt x="61" y="201"/>
                  <a:pt x="61" y="201"/>
                </a:cubicBezTo>
                <a:cubicBezTo>
                  <a:pt x="62" y="199"/>
                  <a:pt x="62" y="199"/>
                  <a:pt x="62" y="199"/>
                </a:cubicBezTo>
                <a:lnTo>
                  <a:pt x="63" y="198"/>
                </a:lnTo>
                <a:close/>
                <a:moveTo>
                  <a:pt x="60" y="203"/>
                </a:moveTo>
                <a:cubicBezTo>
                  <a:pt x="64" y="203"/>
                  <a:pt x="64" y="203"/>
                  <a:pt x="64" y="203"/>
                </a:cubicBezTo>
                <a:cubicBezTo>
                  <a:pt x="66" y="203"/>
                  <a:pt x="66" y="203"/>
                  <a:pt x="66" y="203"/>
                </a:cubicBezTo>
                <a:cubicBezTo>
                  <a:pt x="65" y="204"/>
                  <a:pt x="65" y="204"/>
                  <a:pt x="65" y="204"/>
                </a:cubicBezTo>
                <a:cubicBezTo>
                  <a:pt x="64" y="206"/>
                  <a:pt x="64" y="206"/>
                  <a:pt x="64" y="206"/>
                </a:cubicBezTo>
                <a:cubicBezTo>
                  <a:pt x="63" y="208"/>
                  <a:pt x="63" y="208"/>
                  <a:pt x="63" y="208"/>
                </a:cubicBezTo>
                <a:cubicBezTo>
                  <a:pt x="60" y="203"/>
                  <a:pt x="60" y="203"/>
                  <a:pt x="60" y="203"/>
                </a:cubicBezTo>
                <a:close/>
                <a:moveTo>
                  <a:pt x="63" y="211"/>
                </a:moveTo>
                <a:cubicBezTo>
                  <a:pt x="64" y="212"/>
                  <a:pt x="64" y="212"/>
                  <a:pt x="64" y="212"/>
                </a:cubicBezTo>
                <a:cubicBezTo>
                  <a:pt x="66" y="216"/>
                  <a:pt x="66" y="216"/>
                  <a:pt x="66" y="216"/>
                </a:cubicBezTo>
                <a:cubicBezTo>
                  <a:pt x="62" y="216"/>
                  <a:pt x="62" y="216"/>
                  <a:pt x="62" y="216"/>
                </a:cubicBezTo>
                <a:cubicBezTo>
                  <a:pt x="59" y="216"/>
                  <a:pt x="59" y="216"/>
                  <a:pt x="59" y="216"/>
                </a:cubicBezTo>
                <a:cubicBezTo>
                  <a:pt x="60" y="214"/>
                  <a:pt x="60" y="214"/>
                  <a:pt x="60" y="214"/>
                </a:cubicBezTo>
                <a:cubicBezTo>
                  <a:pt x="63" y="211"/>
                  <a:pt x="63" y="211"/>
                  <a:pt x="63" y="211"/>
                </a:cubicBezTo>
                <a:close/>
                <a:moveTo>
                  <a:pt x="61" y="218"/>
                </a:moveTo>
                <a:cubicBezTo>
                  <a:pt x="64" y="218"/>
                  <a:pt x="64" y="218"/>
                  <a:pt x="64" y="218"/>
                </a:cubicBezTo>
                <a:cubicBezTo>
                  <a:pt x="66" y="218"/>
                  <a:pt x="66" y="218"/>
                  <a:pt x="66" y="218"/>
                </a:cubicBezTo>
                <a:cubicBezTo>
                  <a:pt x="65" y="219"/>
                  <a:pt x="65" y="219"/>
                  <a:pt x="65" y="219"/>
                </a:cubicBezTo>
                <a:cubicBezTo>
                  <a:pt x="64" y="221"/>
                  <a:pt x="64" y="221"/>
                  <a:pt x="64" y="221"/>
                </a:cubicBezTo>
                <a:cubicBezTo>
                  <a:pt x="63" y="222"/>
                  <a:pt x="63" y="222"/>
                  <a:pt x="63" y="222"/>
                </a:cubicBezTo>
                <a:cubicBezTo>
                  <a:pt x="59" y="218"/>
                  <a:pt x="59" y="218"/>
                  <a:pt x="59" y="218"/>
                </a:cubicBezTo>
                <a:lnTo>
                  <a:pt x="61" y="218"/>
                </a:lnTo>
                <a:close/>
                <a:moveTo>
                  <a:pt x="63" y="226"/>
                </a:moveTo>
                <a:cubicBezTo>
                  <a:pt x="67" y="231"/>
                  <a:pt x="67" y="231"/>
                  <a:pt x="67" y="231"/>
                </a:cubicBezTo>
                <a:cubicBezTo>
                  <a:pt x="59" y="231"/>
                  <a:pt x="59" y="231"/>
                  <a:pt x="59" y="231"/>
                </a:cubicBezTo>
                <a:cubicBezTo>
                  <a:pt x="59" y="231"/>
                  <a:pt x="59" y="231"/>
                  <a:pt x="59" y="231"/>
                </a:cubicBezTo>
                <a:cubicBezTo>
                  <a:pt x="59" y="231"/>
                  <a:pt x="59" y="231"/>
                  <a:pt x="59" y="231"/>
                </a:cubicBezTo>
                <a:lnTo>
                  <a:pt x="63" y="226"/>
                </a:lnTo>
                <a:close/>
                <a:moveTo>
                  <a:pt x="59" y="233"/>
                </a:moveTo>
                <a:cubicBezTo>
                  <a:pt x="61" y="233"/>
                  <a:pt x="61" y="233"/>
                  <a:pt x="61" y="233"/>
                </a:cubicBezTo>
                <a:cubicBezTo>
                  <a:pt x="67" y="233"/>
                  <a:pt x="67" y="233"/>
                  <a:pt x="67" y="233"/>
                </a:cubicBezTo>
                <a:cubicBezTo>
                  <a:pt x="65" y="236"/>
                  <a:pt x="65" y="236"/>
                  <a:pt x="65" y="236"/>
                </a:cubicBezTo>
                <a:cubicBezTo>
                  <a:pt x="64" y="237"/>
                  <a:pt x="64" y="237"/>
                  <a:pt x="64" y="237"/>
                </a:cubicBezTo>
                <a:cubicBezTo>
                  <a:pt x="63" y="238"/>
                  <a:pt x="63" y="238"/>
                  <a:pt x="63" y="238"/>
                </a:cubicBezTo>
                <a:cubicBezTo>
                  <a:pt x="59" y="233"/>
                  <a:pt x="59" y="233"/>
                  <a:pt x="59" y="233"/>
                </a:cubicBezTo>
                <a:close/>
                <a:moveTo>
                  <a:pt x="63" y="241"/>
                </a:moveTo>
                <a:cubicBezTo>
                  <a:pt x="64" y="242"/>
                  <a:pt x="64" y="242"/>
                  <a:pt x="64" y="242"/>
                </a:cubicBezTo>
                <a:cubicBezTo>
                  <a:pt x="68" y="248"/>
                  <a:pt x="68" y="248"/>
                  <a:pt x="68" y="248"/>
                </a:cubicBezTo>
                <a:cubicBezTo>
                  <a:pt x="63" y="248"/>
                  <a:pt x="63" y="248"/>
                  <a:pt x="63" y="248"/>
                </a:cubicBezTo>
                <a:cubicBezTo>
                  <a:pt x="61" y="248"/>
                  <a:pt x="61" y="248"/>
                  <a:pt x="61" y="248"/>
                </a:cubicBezTo>
                <a:cubicBezTo>
                  <a:pt x="59" y="248"/>
                  <a:pt x="59" y="248"/>
                  <a:pt x="59" y="248"/>
                </a:cubicBezTo>
                <a:cubicBezTo>
                  <a:pt x="59" y="247"/>
                  <a:pt x="59" y="247"/>
                  <a:pt x="59" y="247"/>
                </a:cubicBezTo>
                <a:cubicBezTo>
                  <a:pt x="60" y="245"/>
                  <a:pt x="60" y="245"/>
                  <a:pt x="60" y="245"/>
                </a:cubicBezTo>
                <a:cubicBezTo>
                  <a:pt x="63" y="241"/>
                  <a:pt x="63" y="241"/>
                  <a:pt x="63" y="241"/>
                </a:cubicBezTo>
                <a:close/>
                <a:moveTo>
                  <a:pt x="63" y="250"/>
                </a:moveTo>
                <a:cubicBezTo>
                  <a:pt x="65" y="249"/>
                  <a:pt x="65" y="249"/>
                  <a:pt x="65" y="249"/>
                </a:cubicBezTo>
                <a:cubicBezTo>
                  <a:pt x="68" y="249"/>
                  <a:pt x="68" y="249"/>
                  <a:pt x="68" y="249"/>
                </a:cubicBezTo>
                <a:cubicBezTo>
                  <a:pt x="66" y="251"/>
                  <a:pt x="66" y="251"/>
                  <a:pt x="66" y="251"/>
                </a:cubicBezTo>
                <a:cubicBezTo>
                  <a:pt x="65" y="252"/>
                  <a:pt x="65" y="252"/>
                  <a:pt x="65" y="252"/>
                </a:cubicBezTo>
                <a:cubicBezTo>
                  <a:pt x="63" y="254"/>
                  <a:pt x="63" y="254"/>
                  <a:pt x="63" y="254"/>
                </a:cubicBezTo>
                <a:cubicBezTo>
                  <a:pt x="59" y="250"/>
                  <a:pt x="59" y="250"/>
                  <a:pt x="59" y="250"/>
                </a:cubicBezTo>
                <a:lnTo>
                  <a:pt x="63" y="250"/>
                </a:lnTo>
                <a:close/>
                <a:moveTo>
                  <a:pt x="63" y="257"/>
                </a:moveTo>
                <a:cubicBezTo>
                  <a:pt x="67" y="260"/>
                  <a:pt x="67" y="260"/>
                  <a:pt x="67" y="260"/>
                </a:cubicBezTo>
                <a:cubicBezTo>
                  <a:pt x="65" y="260"/>
                  <a:pt x="65" y="260"/>
                  <a:pt x="65" y="260"/>
                </a:cubicBezTo>
                <a:cubicBezTo>
                  <a:pt x="60" y="260"/>
                  <a:pt x="60" y="260"/>
                  <a:pt x="60" y="260"/>
                </a:cubicBezTo>
                <a:cubicBezTo>
                  <a:pt x="62" y="258"/>
                  <a:pt x="62" y="258"/>
                  <a:pt x="62" y="258"/>
                </a:cubicBezTo>
                <a:lnTo>
                  <a:pt x="63" y="257"/>
                </a:lnTo>
                <a:close/>
                <a:moveTo>
                  <a:pt x="62" y="264"/>
                </a:moveTo>
                <a:cubicBezTo>
                  <a:pt x="69" y="264"/>
                  <a:pt x="69" y="264"/>
                  <a:pt x="69" y="264"/>
                </a:cubicBezTo>
                <a:cubicBezTo>
                  <a:pt x="70" y="264"/>
                  <a:pt x="70" y="264"/>
                  <a:pt x="70" y="264"/>
                </a:cubicBezTo>
                <a:cubicBezTo>
                  <a:pt x="70" y="266"/>
                  <a:pt x="70" y="266"/>
                  <a:pt x="70" y="266"/>
                </a:cubicBezTo>
                <a:cubicBezTo>
                  <a:pt x="71" y="268"/>
                  <a:pt x="71" y="268"/>
                  <a:pt x="71" y="268"/>
                </a:cubicBezTo>
                <a:cubicBezTo>
                  <a:pt x="66" y="268"/>
                  <a:pt x="66" y="268"/>
                  <a:pt x="66" y="268"/>
                </a:cubicBezTo>
                <a:cubicBezTo>
                  <a:pt x="60" y="268"/>
                  <a:pt x="60" y="268"/>
                  <a:pt x="60" y="268"/>
                </a:cubicBezTo>
                <a:cubicBezTo>
                  <a:pt x="58" y="268"/>
                  <a:pt x="58" y="268"/>
                  <a:pt x="58" y="268"/>
                </a:cubicBezTo>
                <a:cubicBezTo>
                  <a:pt x="57" y="268"/>
                  <a:pt x="57" y="268"/>
                  <a:pt x="57" y="268"/>
                </a:cubicBezTo>
                <a:cubicBezTo>
                  <a:pt x="57" y="268"/>
                  <a:pt x="57" y="268"/>
                  <a:pt x="57" y="268"/>
                </a:cubicBezTo>
                <a:cubicBezTo>
                  <a:pt x="57" y="268"/>
                  <a:pt x="57" y="268"/>
                  <a:pt x="57" y="268"/>
                </a:cubicBezTo>
                <a:cubicBezTo>
                  <a:pt x="57" y="267"/>
                  <a:pt x="57" y="267"/>
                  <a:pt x="57" y="267"/>
                </a:cubicBezTo>
                <a:cubicBezTo>
                  <a:pt x="57" y="265"/>
                  <a:pt x="57" y="265"/>
                  <a:pt x="57" y="265"/>
                </a:cubicBezTo>
                <a:cubicBezTo>
                  <a:pt x="57" y="264"/>
                  <a:pt x="57" y="264"/>
                  <a:pt x="57" y="264"/>
                </a:cubicBezTo>
                <a:lnTo>
                  <a:pt x="62" y="264"/>
                </a:lnTo>
                <a:close/>
                <a:moveTo>
                  <a:pt x="54" y="186"/>
                </a:moveTo>
                <a:cubicBezTo>
                  <a:pt x="54" y="186"/>
                  <a:pt x="54" y="186"/>
                  <a:pt x="54" y="186"/>
                </a:cubicBezTo>
                <a:cubicBezTo>
                  <a:pt x="56" y="184"/>
                  <a:pt x="56" y="184"/>
                  <a:pt x="56" y="184"/>
                </a:cubicBezTo>
                <a:cubicBezTo>
                  <a:pt x="57" y="183"/>
                  <a:pt x="57" y="183"/>
                  <a:pt x="57" y="183"/>
                </a:cubicBezTo>
                <a:cubicBezTo>
                  <a:pt x="57" y="185"/>
                  <a:pt x="57" y="185"/>
                  <a:pt x="57" y="185"/>
                </a:cubicBezTo>
                <a:cubicBezTo>
                  <a:pt x="57" y="189"/>
                  <a:pt x="57" y="189"/>
                  <a:pt x="57" y="189"/>
                </a:cubicBezTo>
                <a:cubicBezTo>
                  <a:pt x="57" y="189"/>
                  <a:pt x="57" y="189"/>
                  <a:pt x="57" y="189"/>
                </a:cubicBezTo>
                <a:lnTo>
                  <a:pt x="54" y="186"/>
                </a:lnTo>
                <a:close/>
                <a:moveTo>
                  <a:pt x="57" y="219"/>
                </a:moveTo>
                <a:cubicBezTo>
                  <a:pt x="57" y="219"/>
                  <a:pt x="57" y="219"/>
                  <a:pt x="57" y="219"/>
                </a:cubicBezTo>
                <a:cubicBezTo>
                  <a:pt x="57" y="222"/>
                  <a:pt x="56" y="225"/>
                  <a:pt x="56" y="228"/>
                </a:cubicBezTo>
                <a:cubicBezTo>
                  <a:pt x="56" y="230"/>
                  <a:pt x="56" y="230"/>
                  <a:pt x="56" y="230"/>
                </a:cubicBezTo>
                <a:cubicBezTo>
                  <a:pt x="52" y="225"/>
                  <a:pt x="52" y="225"/>
                  <a:pt x="52" y="225"/>
                </a:cubicBezTo>
                <a:cubicBezTo>
                  <a:pt x="52" y="224"/>
                  <a:pt x="52" y="224"/>
                  <a:pt x="52" y="224"/>
                </a:cubicBezTo>
                <a:cubicBezTo>
                  <a:pt x="57" y="219"/>
                  <a:pt x="57" y="219"/>
                  <a:pt x="57" y="219"/>
                </a:cubicBezTo>
                <a:close/>
                <a:moveTo>
                  <a:pt x="56" y="234"/>
                </a:moveTo>
                <a:cubicBezTo>
                  <a:pt x="56" y="235"/>
                  <a:pt x="56" y="235"/>
                  <a:pt x="56" y="235"/>
                </a:cubicBezTo>
                <a:cubicBezTo>
                  <a:pt x="56" y="237"/>
                  <a:pt x="56" y="239"/>
                  <a:pt x="56" y="241"/>
                </a:cubicBezTo>
                <a:cubicBezTo>
                  <a:pt x="56" y="243"/>
                  <a:pt x="56" y="243"/>
                  <a:pt x="56" y="243"/>
                </a:cubicBezTo>
                <a:cubicBezTo>
                  <a:pt x="56" y="246"/>
                  <a:pt x="56" y="246"/>
                  <a:pt x="56" y="246"/>
                </a:cubicBezTo>
                <a:cubicBezTo>
                  <a:pt x="51" y="240"/>
                  <a:pt x="51" y="240"/>
                  <a:pt x="51" y="240"/>
                </a:cubicBezTo>
                <a:cubicBezTo>
                  <a:pt x="52" y="239"/>
                  <a:pt x="52" y="239"/>
                  <a:pt x="52" y="239"/>
                </a:cubicBezTo>
                <a:cubicBezTo>
                  <a:pt x="53" y="238"/>
                  <a:pt x="53" y="238"/>
                  <a:pt x="53" y="238"/>
                </a:cubicBezTo>
                <a:cubicBezTo>
                  <a:pt x="56" y="235"/>
                  <a:pt x="56" y="235"/>
                  <a:pt x="56" y="235"/>
                </a:cubicBezTo>
                <a:lnTo>
                  <a:pt x="56" y="234"/>
                </a:lnTo>
                <a:close/>
                <a:moveTo>
                  <a:pt x="57" y="282"/>
                </a:moveTo>
                <a:cubicBezTo>
                  <a:pt x="58" y="282"/>
                  <a:pt x="58" y="282"/>
                  <a:pt x="58" y="282"/>
                </a:cubicBezTo>
                <a:cubicBezTo>
                  <a:pt x="60" y="282"/>
                  <a:pt x="60" y="282"/>
                  <a:pt x="60" y="282"/>
                </a:cubicBezTo>
                <a:cubicBezTo>
                  <a:pt x="62" y="282"/>
                  <a:pt x="62" y="282"/>
                  <a:pt x="62" y="282"/>
                </a:cubicBezTo>
                <a:cubicBezTo>
                  <a:pt x="64" y="282"/>
                  <a:pt x="64" y="282"/>
                  <a:pt x="64" y="282"/>
                </a:cubicBezTo>
                <a:cubicBezTo>
                  <a:pt x="67" y="282"/>
                  <a:pt x="67" y="282"/>
                  <a:pt x="67" y="282"/>
                </a:cubicBezTo>
                <a:cubicBezTo>
                  <a:pt x="70" y="282"/>
                  <a:pt x="70" y="282"/>
                  <a:pt x="70" y="282"/>
                </a:cubicBezTo>
                <a:cubicBezTo>
                  <a:pt x="71" y="282"/>
                  <a:pt x="71" y="282"/>
                  <a:pt x="71" y="282"/>
                </a:cubicBezTo>
                <a:cubicBezTo>
                  <a:pt x="71" y="282"/>
                  <a:pt x="71" y="282"/>
                  <a:pt x="71" y="282"/>
                </a:cubicBezTo>
                <a:cubicBezTo>
                  <a:pt x="72" y="282"/>
                  <a:pt x="72" y="282"/>
                  <a:pt x="72" y="282"/>
                </a:cubicBezTo>
                <a:cubicBezTo>
                  <a:pt x="72" y="282"/>
                  <a:pt x="72" y="282"/>
                  <a:pt x="72" y="282"/>
                </a:cubicBezTo>
                <a:cubicBezTo>
                  <a:pt x="72" y="282"/>
                  <a:pt x="72" y="282"/>
                  <a:pt x="72" y="282"/>
                </a:cubicBezTo>
                <a:cubicBezTo>
                  <a:pt x="72" y="283"/>
                  <a:pt x="72" y="283"/>
                  <a:pt x="72" y="283"/>
                </a:cubicBezTo>
                <a:cubicBezTo>
                  <a:pt x="72" y="283"/>
                  <a:pt x="72" y="283"/>
                  <a:pt x="72" y="283"/>
                </a:cubicBezTo>
                <a:cubicBezTo>
                  <a:pt x="72" y="285"/>
                  <a:pt x="72" y="285"/>
                  <a:pt x="72" y="285"/>
                </a:cubicBezTo>
                <a:cubicBezTo>
                  <a:pt x="72" y="285"/>
                  <a:pt x="72" y="285"/>
                  <a:pt x="72" y="285"/>
                </a:cubicBezTo>
                <a:cubicBezTo>
                  <a:pt x="70" y="285"/>
                  <a:pt x="70" y="285"/>
                  <a:pt x="70" y="285"/>
                </a:cubicBezTo>
                <a:cubicBezTo>
                  <a:pt x="67" y="285"/>
                  <a:pt x="67" y="285"/>
                  <a:pt x="67" y="285"/>
                </a:cubicBezTo>
                <a:cubicBezTo>
                  <a:pt x="65" y="285"/>
                  <a:pt x="65" y="285"/>
                  <a:pt x="65" y="285"/>
                </a:cubicBezTo>
                <a:cubicBezTo>
                  <a:pt x="63" y="285"/>
                  <a:pt x="63" y="285"/>
                  <a:pt x="63" y="285"/>
                </a:cubicBezTo>
                <a:cubicBezTo>
                  <a:pt x="61" y="286"/>
                  <a:pt x="61" y="286"/>
                  <a:pt x="61" y="286"/>
                </a:cubicBezTo>
                <a:cubicBezTo>
                  <a:pt x="60" y="286"/>
                  <a:pt x="60" y="286"/>
                  <a:pt x="60" y="286"/>
                </a:cubicBezTo>
                <a:cubicBezTo>
                  <a:pt x="56" y="286"/>
                  <a:pt x="56" y="286"/>
                  <a:pt x="56" y="286"/>
                </a:cubicBezTo>
                <a:cubicBezTo>
                  <a:pt x="55" y="286"/>
                  <a:pt x="55" y="286"/>
                  <a:pt x="55" y="286"/>
                </a:cubicBezTo>
                <a:cubicBezTo>
                  <a:pt x="56" y="285"/>
                  <a:pt x="56" y="285"/>
                  <a:pt x="56" y="285"/>
                </a:cubicBezTo>
                <a:cubicBezTo>
                  <a:pt x="56" y="284"/>
                  <a:pt x="56" y="283"/>
                  <a:pt x="56" y="283"/>
                </a:cubicBezTo>
                <a:lnTo>
                  <a:pt x="57" y="282"/>
                </a:lnTo>
                <a:close/>
                <a:moveTo>
                  <a:pt x="72" y="260"/>
                </a:moveTo>
                <a:cubicBezTo>
                  <a:pt x="72" y="258"/>
                  <a:pt x="72" y="258"/>
                  <a:pt x="72" y="258"/>
                </a:cubicBezTo>
                <a:cubicBezTo>
                  <a:pt x="71" y="255"/>
                  <a:pt x="71" y="255"/>
                  <a:pt x="71" y="255"/>
                </a:cubicBezTo>
                <a:cubicBezTo>
                  <a:pt x="71" y="254"/>
                  <a:pt x="71" y="252"/>
                  <a:pt x="71" y="251"/>
                </a:cubicBezTo>
                <a:cubicBezTo>
                  <a:pt x="77" y="255"/>
                  <a:pt x="77" y="255"/>
                  <a:pt x="77" y="255"/>
                </a:cubicBezTo>
                <a:cubicBezTo>
                  <a:pt x="74" y="258"/>
                  <a:pt x="74" y="258"/>
                  <a:pt x="74" y="258"/>
                </a:cubicBezTo>
                <a:cubicBezTo>
                  <a:pt x="73" y="260"/>
                  <a:pt x="73" y="260"/>
                  <a:pt x="73" y="260"/>
                </a:cubicBezTo>
                <a:cubicBezTo>
                  <a:pt x="73" y="260"/>
                  <a:pt x="73" y="260"/>
                  <a:pt x="73" y="260"/>
                </a:cubicBezTo>
                <a:lnTo>
                  <a:pt x="72" y="260"/>
                </a:lnTo>
                <a:close/>
                <a:moveTo>
                  <a:pt x="76" y="260"/>
                </a:moveTo>
                <a:cubicBezTo>
                  <a:pt x="79" y="257"/>
                  <a:pt x="79" y="257"/>
                  <a:pt x="79" y="257"/>
                </a:cubicBezTo>
                <a:cubicBezTo>
                  <a:pt x="83" y="260"/>
                  <a:pt x="83" y="260"/>
                  <a:pt x="83" y="260"/>
                </a:cubicBezTo>
                <a:cubicBezTo>
                  <a:pt x="77" y="260"/>
                  <a:pt x="77" y="260"/>
                  <a:pt x="77" y="260"/>
                </a:cubicBezTo>
                <a:cubicBezTo>
                  <a:pt x="75" y="260"/>
                  <a:pt x="75" y="260"/>
                  <a:pt x="75" y="260"/>
                </a:cubicBezTo>
                <a:lnTo>
                  <a:pt x="76" y="260"/>
                </a:lnTo>
                <a:close/>
                <a:moveTo>
                  <a:pt x="79" y="254"/>
                </a:moveTo>
                <a:cubicBezTo>
                  <a:pt x="73" y="249"/>
                  <a:pt x="73" y="249"/>
                  <a:pt x="73" y="249"/>
                </a:cubicBezTo>
                <a:cubicBezTo>
                  <a:pt x="77" y="249"/>
                  <a:pt x="77" y="249"/>
                  <a:pt x="77" y="249"/>
                </a:cubicBezTo>
                <a:cubicBezTo>
                  <a:pt x="79" y="249"/>
                  <a:pt x="79" y="249"/>
                  <a:pt x="79" y="249"/>
                </a:cubicBezTo>
                <a:cubicBezTo>
                  <a:pt x="83" y="249"/>
                  <a:pt x="83" y="249"/>
                  <a:pt x="83" y="249"/>
                </a:cubicBezTo>
                <a:cubicBezTo>
                  <a:pt x="81" y="251"/>
                  <a:pt x="81" y="251"/>
                  <a:pt x="81" y="251"/>
                </a:cubicBezTo>
                <a:cubicBezTo>
                  <a:pt x="80" y="252"/>
                  <a:pt x="80" y="252"/>
                  <a:pt x="80" y="252"/>
                </a:cubicBezTo>
                <a:lnTo>
                  <a:pt x="79" y="254"/>
                </a:lnTo>
                <a:close/>
                <a:moveTo>
                  <a:pt x="77" y="247"/>
                </a:moveTo>
                <a:cubicBezTo>
                  <a:pt x="75" y="247"/>
                  <a:pt x="75" y="247"/>
                  <a:pt x="75" y="247"/>
                </a:cubicBezTo>
                <a:cubicBezTo>
                  <a:pt x="72" y="247"/>
                  <a:pt x="72" y="247"/>
                  <a:pt x="72" y="247"/>
                </a:cubicBezTo>
                <a:cubicBezTo>
                  <a:pt x="73" y="246"/>
                  <a:pt x="73" y="246"/>
                  <a:pt x="73" y="246"/>
                </a:cubicBezTo>
                <a:cubicBezTo>
                  <a:pt x="74" y="245"/>
                  <a:pt x="74" y="245"/>
                  <a:pt x="74" y="245"/>
                </a:cubicBezTo>
                <a:cubicBezTo>
                  <a:pt x="77" y="241"/>
                  <a:pt x="77" y="241"/>
                  <a:pt x="77" y="241"/>
                </a:cubicBezTo>
                <a:cubicBezTo>
                  <a:pt x="83" y="247"/>
                  <a:pt x="83" y="247"/>
                  <a:pt x="83" y="247"/>
                </a:cubicBezTo>
                <a:lnTo>
                  <a:pt x="77" y="247"/>
                </a:lnTo>
                <a:close/>
                <a:moveTo>
                  <a:pt x="77" y="238"/>
                </a:moveTo>
                <a:cubicBezTo>
                  <a:pt x="77" y="238"/>
                  <a:pt x="77" y="238"/>
                  <a:pt x="77" y="238"/>
                </a:cubicBezTo>
                <a:cubicBezTo>
                  <a:pt x="72" y="233"/>
                  <a:pt x="72" y="233"/>
                  <a:pt x="72" y="233"/>
                </a:cubicBezTo>
                <a:cubicBezTo>
                  <a:pt x="71" y="233"/>
                  <a:pt x="71" y="233"/>
                  <a:pt x="71" y="233"/>
                </a:cubicBezTo>
                <a:cubicBezTo>
                  <a:pt x="77" y="233"/>
                  <a:pt x="77" y="233"/>
                  <a:pt x="77" y="233"/>
                </a:cubicBezTo>
                <a:cubicBezTo>
                  <a:pt x="80" y="233"/>
                  <a:pt x="80" y="233"/>
                  <a:pt x="80" y="233"/>
                </a:cubicBezTo>
                <a:cubicBezTo>
                  <a:pt x="81" y="233"/>
                  <a:pt x="81" y="233"/>
                  <a:pt x="81" y="233"/>
                </a:cubicBezTo>
                <a:cubicBezTo>
                  <a:pt x="81" y="233"/>
                  <a:pt x="81" y="233"/>
                  <a:pt x="81" y="233"/>
                </a:cubicBezTo>
                <a:cubicBezTo>
                  <a:pt x="79" y="235"/>
                  <a:pt x="79" y="235"/>
                  <a:pt x="79" y="235"/>
                </a:cubicBezTo>
                <a:lnTo>
                  <a:pt x="77" y="238"/>
                </a:lnTo>
                <a:close/>
                <a:moveTo>
                  <a:pt x="78" y="231"/>
                </a:moveTo>
                <a:cubicBezTo>
                  <a:pt x="75" y="231"/>
                  <a:pt x="75" y="231"/>
                  <a:pt x="75" y="231"/>
                </a:cubicBezTo>
                <a:cubicBezTo>
                  <a:pt x="71" y="231"/>
                  <a:pt x="71" y="231"/>
                  <a:pt x="71" y="231"/>
                </a:cubicBezTo>
                <a:cubicBezTo>
                  <a:pt x="73" y="229"/>
                  <a:pt x="73" y="229"/>
                  <a:pt x="73" y="229"/>
                </a:cubicBezTo>
                <a:cubicBezTo>
                  <a:pt x="74" y="227"/>
                  <a:pt x="74" y="227"/>
                  <a:pt x="74" y="227"/>
                </a:cubicBezTo>
                <a:cubicBezTo>
                  <a:pt x="75" y="225"/>
                  <a:pt x="75" y="225"/>
                  <a:pt x="75" y="225"/>
                </a:cubicBezTo>
                <a:cubicBezTo>
                  <a:pt x="81" y="231"/>
                  <a:pt x="81" y="231"/>
                  <a:pt x="81" y="231"/>
                </a:cubicBezTo>
                <a:lnTo>
                  <a:pt x="78" y="231"/>
                </a:lnTo>
                <a:close/>
                <a:moveTo>
                  <a:pt x="75" y="222"/>
                </a:moveTo>
                <a:cubicBezTo>
                  <a:pt x="70" y="218"/>
                  <a:pt x="70" y="218"/>
                  <a:pt x="70" y="218"/>
                </a:cubicBezTo>
                <a:cubicBezTo>
                  <a:pt x="75" y="217"/>
                  <a:pt x="75" y="217"/>
                  <a:pt x="75" y="217"/>
                </a:cubicBezTo>
                <a:cubicBezTo>
                  <a:pt x="79" y="217"/>
                  <a:pt x="79" y="217"/>
                  <a:pt x="79" y="217"/>
                </a:cubicBezTo>
                <a:cubicBezTo>
                  <a:pt x="79" y="217"/>
                  <a:pt x="79" y="217"/>
                  <a:pt x="79" y="217"/>
                </a:cubicBezTo>
                <a:cubicBezTo>
                  <a:pt x="79" y="218"/>
                  <a:pt x="79" y="218"/>
                  <a:pt x="79" y="218"/>
                </a:cubicBezTo>
                <a:cubicBezTo>
                  <a:pt x="77" y="219"/>
                  <a:pt x="77" y="219"/>
                  <a:pt x="77" y="219"/>
                </a:cubicBezTo>
                <a:lnTo>
                  <a:pt x="75" y="222"/>
                </a:lnTo>
                <a:close/>
                <a:moveTo>
                  <a:pt x="77" y="216"/>
                </a:moveTo>
                <a:cubicBezTo>
                  <a:pt x="73" y="216"/>
                  <a:pt x="73" y="216"/>
                  <a:pt x="73" y="216"/>
                </a:cubicBezTo>
                <a:cubicBezTo>
                  <a:pt x="70" y="216"/>
                  <a:pt x="70" y="216"/>
                  <a:pt x="70" y="216"/>
                </a:cubicBezTo>
                <a:cubicBezTo>
                  <a:pt x="72" y="214"/>
                  <a:pt x="72" y="214"/>
                  <a:pt x="72" y="214"/>
                </a:cubicBezTo>
                <a:cubicBezTo>
                  <a:pt x="73" y="212"/>
                  <a:pt x="73" y="212"/>
                  <a:pt x="73" y="212"/>
                </a:cubicBezTo>
                <a:cubicBezTo>
                  <a:pt x="74" y="211"/>
                  <a:pt x="74" y="211"/>
                  <a:pt x="74" y="211"/>
                </a:cubicBezTo>
                <a:cubicBezTo>
                  <a:pt x="79" y="216"/>
                  <a:pt x="79" y="216"/>
                  <a:pt x="79" y="216"/>
                </a:cubicBezTo>
                <a:lnTo>
                  <a:pt x="77" y="216"/>
                </a:lnTo>
                <a:close/>
                <a:moveTo>
                  <a:pt x="74" y="208"/>
                </a:moveTo>
                <a:cubicBezTo>
                  <a:pt x="70" y="203"/>
                  <a:pt x="70" y="203"/>
                  <a:pt x="70" y="203"/>
                </a:cubicBezTo>
                <a:cubicBezTo>
                  <a:pt x="73" y="203"/>
                  <a:pt x="73" y="203"/>
                  <a:pt x="73" y="203"/>
                </a:cubicBezTo>
                <a:cubicBezTo>
                  <a:pt x="77" y="203"/>
                  <a:pt x="77" y="203"/>
                  <a:pt x="77" y="203"/>
                </a:cubicBezTo>
                <a:cubicBezTo>
                  <a:pt x="77" y="203"/>
                  <a:pt x="77" y="203"/>
                  <a:pt x="77" y="203"/>
                </a:cubicBezTo>
                <a:cubicBezTo>
                  <a:pt x="77" y="204"/>
                  <a:pt x="77" y="204"/>
                  <a:pt x="77" y="204"/>
                </a:cubicBezTo>
                <a:cubicBezTo>
                  <a:pt x="75" y="206"/>
                  <a:pt x="75" y="206"/>
                  <a:pt x="75" y="206"/>
                </a:cubicBezTo>
                <a:lnTo>
                  <a:pt x="74" y="208"/>
                </a:lnTo>
                <a:close/>
                <a:moveTo>
                  <a:pt x="75" y="201"/>
                </a:moveTo>
                <a:cubicBezTo>
                  <a:pt x="71" y="201"/>
                  <a:pt x="71" y="201"/>
                  <a:pt x="71" y="201"/>
                </a:cubicBezTo>
                <a:cubicBezTo>
                  <a:pt x="70" y="201"/>
                  <a:pt x="70" y="201"/>
                  <a:pt x="70" y="201"/>
                </a:cubicBezTo>
                <a:cubicBezTo>
                  <a:pt x="70" y="201"/>
                  <a:pt x="70" y="201"/>
                  <a:pt x="70" y="201"/>
                </a:cubicBezTo>
                <a:cubicBezTo>
                  <a:pt x="72" y="199"/>
                  <a:pt x="72" y="199"/>
                  <a:pt x="72" y="199"/>
                </a:cubicBezTo>
                <a:cubicBezTo>
                  <a:pt x="73" y="198"/>
                  <a:pt x="73" y="198"/>
                  <a:pt x="73" y="198"/>
                </a:cubicBezTo>
                <a:cubicBezTo>
                  <a:pt x="77" y="201"/>
                  <a:pt x="77" y="201"/>
                  <a:pt x="77" y="201"/>
                </a:cubicBezTo>
                <a:lnTo>
                  <a:pt x="75" y="201"/>
                </a:lnTo>
                <a:close/>
                <a:moveTo>
                  <a:pt x="71" y="198"/>
                </a:moveTo>
                <a:cubicBezTo>
                  <a:pt x="69" y="200"/>
                  <a:pt x="69" y="200"/>
                  <a:pt x="69" y="200"/>
                </a:cubicBezTo>
                <a:cubicBezTo>
                  <a:pt x="68" y="200"/>
                  <a:pt x="68" y="200"/>
                  <a:pt x="68" y="200"/>
                </a:cubicBezTo>
                <a:cubicBezTo>
                  <a:pt x="68" y="199"/>
                  <a:pt x="68" y="199"/>
                  <a:pt x="68" y="199"/>
                </a:cubicBezTo>
                <a:cubicBezTo>
                  <a:pt x="68" y="195"/>
                  <a:pt x="68" y="195"/>
                  <a:pt x="68" y="195"/>
                </a:cubicBezTo>
                <a:cubicBezTo>
                  <a:pt x="68" y="193"/>
                  <a:pt x="68" y="193"/>
                  <a:pt x="68" y="193"/>
                </a:cubicBezTo>
                <a:cubicBezTo>
                  <a:pt x="72" y="197"/>
                  <a:pt x="72" y="197"/>
                  <a:pt x="72" y="197"/>
                </a:cubicBezTo>
                <a:lnTo>
                  <a:pt x="71" y="198"/>
                </a:lnTo>
                <a:close/>
                <a:moveTo>
                  <a:pt x="70" y="189"/>
                </a:moveTo>
                <a:cubicBezTo>
                  <a:pt x="71" y="189"/>
                  <a:pt x="71" y="189"/>
                  <a:pt x="71" y="189"/>
                </a:cubicBezTo>
                <a:cubicBezTo>
                  <a:pt x="72" y="187"/>
                  <a:pt x="72" y="187"/>
                  <a:pt x="72" y="187"/>
                </a:cubicBezTo>
                <a:cubicBezTo>
                  <a:pt x="72" y="187"/>
                  <a:pt x="72" y="187"/>
                  <a:pt x="72" y="187"/>
                </a:cubicBezTo>
                <a:cubicBezTo>
                  <a:pt x="76" y="190"/>
                  <a:pt x="76" y="190"/>
                  <a:pt x="76" y="190"/>
                </a:cubicBezTo>
                <a:cubicBezTo>
                  <a:pt x="75" y="190"/>
                  <a:pt x="75" y="190"/>
                  <a:pt x="75" y="190"/>
                </a:cubicBezTo>
                <a:cubicBezTo>
                  <a:pt x="72" y="190"/>
                  <a:pt x="72" y="190"/>
                  <a:pt x="72" y="190"/>
                </a:cubicBezTo>
                <a:cubicBezTo>
                  <a:pt x="71" y="190"/>
                  <a:pt x="71" y="190"/>
                  <a:pt x="71" y="190"/>
                </a:cubicBezTo>
                <a:cubicBezTo>
                  <a:pt x="69" y="190"/>
                  <a:pt x="69" y="190"/>
                  <a:pt x="69" y="190"/>
                </a:cubicBezTo>
                <a:lnTo>
                  <a:pt x="70" y="189"/>
                </a:lnTo>
                <a:close/>
                <a:moveTo>
                  <a:pt x="74" y="180"/>
                </a:moveTo>
                <a:cubicBezTo>
                  <a:pt x="71" y="180"/>
                  <a:pt x="71" y="180"/>
                  <a:pt x="71" y="180"/>
                </a:cubicBezTo>
                <a:cubicBezTo>
                  <a:pt x="68" y="180"/>
                  <a:pt x="68" y="180"/>
                  <a:pt x="68" y="180"/>
                </a:cubicBezTo>
                <a:cubicBezTo>
                  <a:pt x="69" y="179"/>
                  <a:pt x="69" y="179"/>
                  <a:pt x="69" y="179"/>
                </a:cubicBezTo>
                <a:cubicBezTo>
                  <a:pt x="71" y="177"/>
                  <a:pt x="71" y="177"/>
                  <a:pt x="71" y="177"/>
                </a:cubicBezTo>
                <a:cubicBezTo>
                  <a:pt x="71" y="176"/>
                  <a:pt x="71" y="176"/>
                  <a:pt x="71" y="176"/>
                </a:cubicBezTo>
                <a:cubicBezTo>
                  <a:pt x="71" y="176"/>
                  <a:pt x="71" y="176"/>
                  <a:pt x="71" y="176"/>
                </a:cubicBezTo>
                <a:cubicBezTo>
                  <a:pt x="73" y="178"/>
                  <a:pt x="73" y="178"/>
                  <a:pt x="73" y="178"/>
                </a:cubicBezTo>
                <a:cubicBezTo>
                  <a:pt x="75" y="180"/>
                  <a:pt x="75" y="180"/>
                  <a:pt x="75" y="180"/>
                </a:cubicBezTo>
                <a:lnTo>
                  <a:pt x="74" y="180"/>
                </a:lnTo>
                <a:close/>
                <a:moveTo>
                  <a:pt x="71" y="173"/>
                </a:moveTo>
                <a:cubicBezTo>
                  <a:pt x="68" y="170"/>
                  <a:pt x="68" y="170"/>
                  <a:pt x="68" y="170"/>
                </a:cubicBezTo>
                <a:cubicBezTo>
                  <a:pt x="68" y="170"/>
                  <a:pt x="68" y="170"/>
                  <a:pt x="68" y="170"/>
                </a:cubicBezTo>
                <a:cubicBezTo>
                  <a:pt x="72" y="170"/>
                  <a:pt x="72" y="170"/>
                  <a:pt x="72" y="170"/>
                </a:cubicBezTo>
                <a:cubicBezTo>
                  <a:pt x="74" y="170"/>
                  <a:pt x="74" y="170"/>
                  <a:pt x="74" y="170"/>
                </a:cubicBezTo>
                <a:cubicBezTo>
                  <a:pt x="73" y="171"/>
                  <a:pt x="73" y="171"/>
                  <a:pt x="73" y="171"/>
                </a:cubicBezTo>
                <a:cubicBezTo>
                  <a:pt x="71" y="173"/>
                  <a:pt x="71" y="173"/>
                  <a:pt x="71" y="173"/>
                </a:cubicBezTo>
                <a:close/>
                <a:moveTo>
                  <a:pt x="73" y="168"/>
                </a:moveTo>
                <a:cubicBezTo>
                  <a:pt x="70" y="168"/>
                  <a:pt x="70" y="168"/>
                  <a:pt x="70" y="168"/>
                </a:cubicBezTo>
                <a:cubicBezTo>
                  <a:pt x="68" y="168"/>
                  <a:pt x="68" y="168"/>
                  <a:pt x="68" y="168"/>
                </a:cubicBezTo>
                <a:cubicBezTo>
                  <a:pt x="69" y="167"/>
                  <a:pt x="69" y="167"/>
                  <a:pt x="69" y="167"/>
                </a:cubicBezTo>
                <a:cubicBezTo>
                  <a:pt x="70" y="165"/>
                  <a:pt x="70" y="165"/>
                  <a:pt x="70" y="165"/>
                </a:cubicBezTo>
                <a:cubicBezTo>
                  <a:pt x="71" y="164"/>
                  <a:pt x="71" y="164"/>
                  <a:pt x="71" y="164"/>
                </a:cubicBezTo>
                <a:cubicBezTo>
                  <a:pt x="74" y="168"/>
                  <a:pt x="74" y="168"/>
                  <a:pt x="74" y="168"/>
                </a:cubicBezTo>
                <a:lnTo>
                  <a:pt x="73" y="168"/>
                </a:lnTo>
                <a:close/>
                <a:moveTo>
                  <a:pt x="70" y="161"/>
                </a:moveTo>
                <a:cubicBezTo>
                  <a:pt x="68" y="158"/>
                  <a:pt x="68" y="158"/>
                  <a:pt x="68" y="158"/>
                </a:cubicBezTo>
                <a:cubicBezTo>
                  <a:pt x="69" y="158"/>
                  <a:pt x="69" y="158"/>
                  <a:pt x="69" y="158"/>
                </a:cubicBezTo>
                <a:cubicBezTo>
                  <a:pt x="71" y="158"/>
                  <a:pt x="71" y="158"/>
                  <a:pt x="71" y="158"/>
                </a:cubicBezTo>
                <a:cubicBezTo>
                  <a:pt x="72" y="158"/>
                  <a:pt x="72" y="158"/>
                  <a:pt x="72" y="158"/>
                </a:cubicBezTo>
                <a:cubicBezTo>
                  <a:pt x="73" y="158"/>
                  <a:pt x="73" y="158"/>
                  <a:pt x="73" y="158"/>
                </a:cubicBezTo>
                <a:cubicBezTo>
                  <a:pt x="73" y="159"/>
                  <a:pt x="73" y="159"/>
                  <a:pt x="73" y="159"/>
                </a:cubicBezTo>
                <a:cubicBezTo>
                  <a:pt x="72" y="159"/>
                  <a:pt x="72" y="159"/>
                  <a:pt x="72" y="159"/>
                </a:cubicBezTo>
                <a:cubicBezTo>
                  <a:pt x="71" y="160"/>
                  <a:pt x="71" y="160"/>
                  <a:pt x="71" y="160"/>
                </a:cubicBezTo>
                <a:lnTo>
                  <a:pt x="70" y="161"/>
                </a:lnTo>
                <a:close/>
                <a:moveTo>
                  <a:pt x="71" y="156"/>
                </a:moveTo>
                <a:cubicBezTo>
                  <a:pt x="70" y="156"/>
                  <a:pt x="70" y="156"/>
                  <a:pt x="70" y="156"/>
                </a:cubicBezTo>
                <a:cubicBezTo>
                  <a:pt x="69" y="156"/>
                  <a:pt x="69" y="156"/>
                  <a:pt x="69" y="156"/>
                </a:cubicBezTo>
                <a:cubicBezTo>
                  <a:pt x="68" y="156"/>
                  <a:pt x="68" y="156"/>
                  <a:pt x="68" y="156"/>
                </a:cubicBezTo>
                <a:cubicBezTo>
                  <a:pt x="68" y="156"/>
                  <a:pt x="68" y="156"/>
                  <a:pt x="68" y="156"/>
                </a:cubicBezTo>
                <a:cubicBezTo>
                  <a:pt x="69" y="155"/>
                  <a:pt x="69" y="155"/>
                  <a:pt x="69" y="155"/>
                </a:cubicBezTo>
                <a:cubicBezTo>
                  <a:pt x="69" y="155"/>
                  <a:pt x="69" y="155"/>
                  <a:pt x="69" y="155"/>
                </a:cubicBezTo>
                <a:cubicBezTo>
                  <a:pt x="70" y="154"/>
                  <a:pt x="70" y="154"/>
                  <a:pt x="70" y="154"/>
                </a:cubicBezTo>
                <a:cubicBezTo>
                  <a:pt x="72" y="156"/>
                  <a:pt x="72" y="156"/>
                  <a:pt x="72" y="156"/>
                </a:cubicBezTo>
                <a:lnTo>
                  <a:pt x="71" y="156"/>
                </a:lnTo>
                <a:close/>
                <a:moveTo>
                  <a:pt x="70" y="151"/>
                </a:moveTo>
                <a:cubicBezTo>
                  <a:pt x="68" y="150"/>
                  <a:pt x="68" y="150"/>
                  <a:pt x="68" y="150"/>
                </a:cubicBezTo>
                <a:cubicBezTo>
                  <a:pt x="70" y="149"/>
                  <a:pt x="70" y="149"/>
                  <a:pt x="70" y="149"/>
                </a:cubicBezTo>
                <a:cubicBezTo>
                  <a:pt x="71" y="149"/>
                  <a:pt x="71" y="149"/>
                  <a:pt x="71" y="149"/>
                </a:cubicBezTo>
                <a:cubicBezTo>
                  <a:pt x="72" y="149"/>
                  <a:pt x="72" y="149"/>
                  <a:pt x="72" y="149"/>
                </a:cubicBezTo>
                <a:cubicBezTo>
                  <a:pt x="72" y="150"/>
                  <a:pt x="72" y="150"/>
                  <a:pt x="72" y="150"/>
                </a:cubicBezTo>
                <a:cubicBezTo>
                  <a:pt x="71" y="150"/>
                  <a:pt x="71" y="150"/>
                  <a:pt x="71" y="150"/>
                </a:cubicBezTo>
                <a:lnTo>
                  <a:pt x="70" y="151"/>
                </a:lnTo>
                <a:close/>
                <a:moveTo>
                  <a:pt x="69" y="148"/>
                </a:moveTo>
                <a:cubicBezTo>
                  <a:pt x="68" y="148"/>
                  <a:pt x="68" y="148"/>
                  <a:pt x="68" y="148"/>
                </a:cubicBezTo>
                <a:cubicBezTo>
                  <a:pt x="67" y="148"/>
                  <a:pt x="67" y="148"/>
                  <a:pt x="67" y="148"/>
                </a:cubicBezTo>
                <a:cubicBezTo>
                  <a:pt x="68" y="147"/>
                  <a:pt x="68" y="147"/>
                  <a:pt x="68" y="147"/>
                </a:cubicBezTo>
                <a:cubicBezTo>
                  <a:pt x="68" y="147"/>
                  <a:pt x="68" y="147"/>
                  <a:pt x="68" y="147"/>
                </a:cubicBezTo>
                <a:cubicBezTo>
                  <a:pt x="69" y="146"/>
                  <a:pt x="69" y="146"/>
                  <a:pt x="69" y="146"/>
                </a:cubicBezTo>
                <a:cubicBezTo>
                  <a:pt x="71" y="148"/>
                  <a:pt x="71" y="148"/>
                  <a:pt x="71" y="148"/>
                </a:cubicBezTo>
                <a:lnTo>
                  <a:pt x="69" y="148"/>
                </a:lnTo>
                <a:close/>
                <a:moveTo>
                  <a:pt x="70" y="142"/>
                </a:moveTo>
                <a:cubicBezTo>
                  <a:pt x="69" y="143"/>
                  <a:pt x="69" y="143"/>
                  <a:pt x="69" y="143"/>
                </a:cubicBezTo>
                <a:cubicBezTo>
                  <a:pt x="69" y="143"/>
                  <a:pt x="69" y="143"/>
                  <a:pt x="69" y="143"/>
                </a:cubicBezTo>
                <a:cubicBezTo>
                  <a:pt x="67" y="141"/>
                  <a:pt x="67" y="141"/>
                  <a:pt x="67" y="141"/>
                </a:cubicBezTo>
                <a:cubicBezTo>
                  <a:pt x="68" y="141"/>
                  <a:pt x="68" y="141"/>
                  <a:pt x="68" y="141"/>
                </a:cubicBezTo>
                <a:cubicBezTo>
                  <a:pt x="69" y="141"/>
                  <a:pt x="69" y="141"/>
                  <a:pt x="69" y="141"/>
                </a:cubicBezTo>
                <a:cubicBezTo>
                  <a:pt x="71" y="141"/>
                  <a:pt x="71" y="141"/>
                  <a:pt x="71" y="141"/>
                </a:cubicBezTo>
                <a:lnTo>
                  <a:pt x="70" y="142"/>
                </a:lnTo>
                <a:close/>
                <a:moveTo>
                  <a:pt x="70" y="139"/>
                </a:moveTo>
                <a:cubicBezTo>
                  <a:pt x="67" y="139"/>
                  <a:pt x="67" y="139"/>
                  <a:pt x="67" y="139"/>
                </a:cubicBezTo>
                <a:cubicBezTo>
                  <a:pt x="67" y="139"/>
                  <a:pt x="67" y="139"/>
                  <a:pt x="67" y="139"/>
                </a:cubicBezTo>
                <a:cubicBezTo>
                  <a:pt x="67" y="139"/>
                  <a:pt x="67" y="139"/>
                  <a:pt x="67" y="139"/>
                </a:cubicBezTo>
                <a:cubicBezTo>
                  <a:pt x="68" y="138"/>
                  <a:pt x="68" y="138"/>
                  <a:pt x="68" y="138"/>
                </a:cubicBezTo>
                <a:cubicBezTo>
                  <a:pt x="69" y="137"/>
                  <a:pt x="69" y="137"/>
                  <a:pt x="69" y="137"/>
                </a:cubicBezTo>
                <a:cubicBezTo>
                  <a:pt x="71" y="139"/>
                  <a:pt x="71" y="139"/>
                  <a:pt x="71" y="139"/>
                </a:cubicBezTo>
                <a:lnTo>
                  <a:pt x="70" y="139"/>
                </a:lnTo>
                <a:close/>
                <a:moveTo>
                  <a:pt x="69" y="134"/>
                </a:moveTo>
                <a:cubicBezTo>
                  <a:pt x="67" y="133"/>
                  <a:pt x="67" y="133"/>
                  <a:pt x="67" y="133"/>
                </a:cubicBezTo>
                <a:cubicBezTo>
                  <a:pt x="70" y="133"/>
                  <a:pt x="70" y="133"/>
                  <a:pt x="70" y="133"/>
                </a:cubicBezTo>
                <a:cubicBezTo>
                  <a:pt x="71" y="133"/>
                  <a:pt x="71" y="133"/>
                  <a:pt x="71" y="133"/>
                </a:cubicBezTo>
                <a:cubicBezTo>
                  <a:pt x="70" y="133"/>
                  <a:pt x="70" y="133"/>
                  <a:pt x="70" y="133"/>
                </a:cubicBezTo>
                <a:lnTo>
                  <a:pt x="69" y="134"/>
                </a:lnTo>
                <a:close/>
                <a:moveTo>
                  <a:pt x="70" y="131"/>
                </a:moveTo>
                <a:cubicBezTo>
                  <a:pt x="68" y="131"/>
                  <a:pt x="68" y="131"/>
                  <a:pt x="68" y="131"/>
                </a:cubicBezTo>
                <a:cubicBezTo>
                  <a:pt x="66" y="131"/>
                  <a:pt x="66" y="131"/>
                  <a:pt x="66" y="131"/>
                </a:cubicBezTo>
                <a:cubicBezTo>
                  <a:pt x="67" y="130"/>
                  <a:pt x="67" y="130"/>
                  <a:pt x="67" y="130"/>
                </a:cubicBezTo>
                <a:cubicBezTo>
                  <a:pt x="68" y="128"/>
                  <a:pt x="68" y="128"/>
                  <a:pt x="68" y="128"/>
                </a:cubicBezTo>
                <a:cubicBezTo>
                  <a:pt x="68" y="128"/>
                  <a:pt x="68" y="128"/>
                  <a:pt x="68" y="128"/>
                </a:cubicBezTo>
                <a:cubicBezTo>
                  <a:pt x="71" y="131"/>
                  <a:pt x="71" y="131"/>
                  <a:pt x="71" y="131"/>
                </a:cubicBezTo>
                <a:lnTo>
                  <a:pt x="70" y="131"/>
                </a:lnTo>
                <a:close/>
                <a:moveTo>
                  <a:pt x="68" y="120"/>
                </a:moveTo>
                <a:cubicBezTo>
                  <a:pt x="66" y="120"/>
                  <a:pt x="66" y="120"/>
                  <a:pt x="66" y="120"/>
                </a:cubicBezTo>
                <a:cubicBezTo>
                  <a:pt x="67" y="119"/>
                  <a:pt x="67" y="119"/>
                  <a:pt x="67" y="119"/>
                </a:cubicBezTo>
                <a:cubicBezTo>
                  <a:pt x="67" y="117"/>
                  <a:pt x="67" y="117"/>
                  <a:pt x="67" y="117"/>
                </a:cubicBezTo>
                <a:cubicBezTo>
                  <a:pt x="68" y="117"/>
                  <a:pt x="68" y="117"/>
                  <a:pt x="68" y="117"/>
                </a:cubicBezTo>
                <a:cubicBezTo>
                  <a:pt x="70" y="120"/>
                  <a:pt x="70" y="120"/>
                  <a:pt x="70" y="120"/>
                </a:cubicBezTo>
                <a:cubicBezTo>
                  <a:pt x="70" y="120"/>
                  <a:pt x="70" y="120"/>
                  <a:pt x="70" y="120"/>
                </a:cubicBezTo>
                <a:lnTo>
                  <a:pt x="68" y="120"/>
                </a:lnTo>
                <a:close/>
                <a:moveTo>
                  <a:pt x="67" y="109"/>
                </a:moveTo>
                <a:cubicBezTo>
                  <a:pt x="66" y="109"/>
                  <a:pt x="66" y="109"/>
                  <a:pt x="66" y="109"/>
                </a:cubicBezTo>
                <a:cubicBezTo>
                  <a:pt x="66" y="108"/>
                  <a:pt x="66" y="108"/>
                  <a:pt x="66" y="108"/>
                </a:cubicBezTo>
                <a:cubicBezTo>
                  <a:pt x="67" y="107"/>
                  <a:pt x="67" y="107"/>
                  <a:pt x="67" y="107"/>
                </a:cubicBezTo>
                <a:cubicBezTo>
                  <a:pt x="67" y="107"/>
                  <a:pt x="67" y="107"/>
                  <a:pt x="67" y="107"/>
                </a:cubicBezTo>
                <a:cubicBezTo>
                  <a:pt x="69" y="109"/>
                  <a:pt x="69" y="109"/>
                  <a:pt x="69" y="109"/>
                </a:cubicBezTo>
                <a:cubicBezTo>
                  <a:pt x="69" y="109"/>
                  <a:pt x="69" y="109"/>
                  <a:pt x="69" y="109"/>
                </a:cubicBezTo>
                <a:lnTo>
                  <a:pt x="67" y="109"/>
                </a:lnTo>
                <a:close/>
                <a:moveTo>
                  <a:pt x="67" y="99"/>
                </a:moveTo>
                <a:cubicBezTo>
                  <a:pt x="66" y="99"/>
                  <a:pt x="66" y="99"/>
                  <a:pt x="66" y="99"/>
                </a:cubicBezTo>
                <a:cubicBezTo>
                  <a:pt x="65" y="100"/>
                  <a:pt x="65" y="100"/>
                  <a:pt x="65" y="100"/>
                </a:cubicBezTo>
                <a:cubicBezTo>
                  <a:pt x="66" y="99"/>
                  <a:pt x="66" y="99"/>
                  <a:pt x="66" y="99"/>
                </a:cubicBezTo>
                <a:cubicBezTo>
                  <a:pt x="66" y="99"/>
                  <a:pt x="66" y="99"/>
                  <a:pt x="66" y="99"/>
                </a:cubicBezTo>
                <a:cubicBezTo>
                  <a:pt x="66" y="98"/>
                  <a:pt x="66" y="98"/>
                  <a:pt x="66" y="98"/>
                </a:cubicBezTo>
                <a:cubicBezTo>
                  <a:pt x="67" y="97"/>
                  <a:pt x="67" y="97"/>
                  <a:pt x="67" y="97"/>
                </a:cubicBezTo>
                <a:cubicBezTo>
                  <a:pt x="69" y="99"/>
                  <a:pt x="69" y="99"/>
                  <a:pt x="69" y="99"/>
                </a:cubicBezTo>
                <a:cubicBezTo>
                  <a:pt x="68" y="99"/>
                  <a:pt x="68" y="99"/>
                  <a:pt x="68" y="99"/>
                </a:cubicBezTo>
                <a:lnTo>
                  <a:pt x="67" y="99"/>
                </a:lnTo>
                <a:close/>
                <a:moveTo>
                  <a:pt x="67" y="72"/>
                </a:moveTo>
                <a:cubicBezTo>
                  <a:pt x="67" y="72"/>
                  <a:pt x="67" y="72"/>
                  <a:pt x="67" y="72"/>
                </a:cubicBezTo>
                <a:cubicBezTo>
                  <a:pt x="66" y="74"/>
                  <a:pt x="66" y="74"/>
                  <a:pt x="66" y="74"/>
                </a:cubicBezTo>
                <a:cubicBezTo>
                  <a:pt x="66" y="74"/>
                  <a:pt x="66" y="74"/>
                  <a:pt x="66" y="74"/>
                </a:cubicBezTo>
                <a:cubicBezTo>
                  <a:pt x="66" y="74"/>
                  <a:pt x="66" y="74"/>
                  <a:pt x="66" y="74"/>
                </a:cubicBezTo>
                <a:cubicBezTo>
                  <a:pt x="66" y="74"/>
                  <a:pt x="66" y="74"/>
                  <a:pt x="66" y="74"/>
                </a:cubicBezTo>
                <a:cubicBezTo>
                  <a:pt x="65" y="73"/>
                  <a:pt x="65" y="73"/>
                  <a:pt x="65" y="73"/>
                </a:cubicBezTo>
                <a:cubicBezTo>
                  <a:pt x="64" y="72"/>
                  <a:pt x="64" y="72"/>
                  <a:pt x="64" y="72"/>
                </a:cubicBezTo>
                <a:cubicBezTo>
                  <a:pt x="66" y="72"/>
                  <a:pt x="66" y="72"/>
                  <a:pt x="66" y="72"/>
                </a:cubicBezTo>
                <a:cubicBezTo>
                  <a:pt x="67" y="72"/>
                  <a:pt x="67" y="72"/>
                  <a:pt x="67" y="72"/>
                </a:cubicBezTo>
                <a:cubicBezTo>
                  <a:pt x="67" y="72"/>
                  <a:pt x="67" y="72"/>
                  <a:pt x="67" y="72"/>
                </a:cubicBezTo>
                <a:close/>
                <a:moveTo>
                  <a:pt x="66" y="63"/>
                </a:moveTo>
                <a:cubicBezTo>
                  <a:pt x="64" y="63"/>
                  <a:pt x="64" y="63"/>
                  <a:pt x="64" y="63"/>
                </a:cubicBezTo>
                <a:cubicBezTo>
                  <a:pt x="64" y="63"/>
                  <a:pt x="64" y="63"/>
                  <a:pt x="64" y="63"/>
                </a:cubicBezTo>
                <a:cubicBezTo>
                  <a:pt x="64" y="63"/>
                  <a:pt x="64" y="63"/>
                  <a:pt x="64" y="63"/>
                </a:cubicBezTo>
                <a:cubicBezTo>
                  <a:pt x="65" y="62"/>
                  <a:pt x="65" y="62"/>
                  <a:pt x="65" y="62"/>
                </a:cubicBezTo>
                <a:cubicBezTo>
                  <a:pt x="65" y="61"/>
                  <a:pt x="65" y="61"/>
                  <a:pt x="65" y="61"/>
                </a:cubicBezTo>
                <a:cubicBezTo>
                  <a:pt x="66" y="63"/>
                  <a:pt x="66" y="63"/>
                  <a:pt x="66" y="63"/>
                </a:cubicBezTo>
                <a:close/>
                <a:moveTo>
                  <a:pt x="65" y="52"/>
                </a:moveTo>
                <a:cubicBezTo>
                  <a:pt x="65" y="53"/>
                  <a:pt x="65" y="53"/>
                  <a:pt x="65" y="53"/>
                </a:cubicBezTo>
                <a:cubicBezTo>
                  <a:pt x="65" y="53"/>
                  <a:pt x="64" y="53"/>
                  <a:pt x="64" y="53"/>
                </a:cubicBezTo>
                <a:cubicBezTo>
                  <a:pt x="64" y="53"/>
                  <a:pt x="64" y="53"/>
                  <a:pt x="63" y="53"/>
                </a:cubicBezTo>
                <a:cubicBezTo>
                  <a:pt x="63" y="52"/>
                  <a:pt x="63" y="52"/>
                  <a:pt x="63" y="52"/>
                </a:cubicBezTo>
                <a:cubicBezTo>
                  <a:pt x="63" y="50"/>
                  <a:pt x="63" y="50"/>
                  <a:pt x="63" y="50"/>
                </a:cubicBezTo>
                <a:cubicBezTo>
                  <a:pt x="63" y="47"/>
                  <a:pt x="63" y="47"/>
                  <a:pt x="63" y="47"/>
                </a:cubicBezTo>
                <a:cubicBezTo>
                  <a:pt x="63" y="45"/>
                  <a:pt x="63" y="45"/>
                  <a:pt x="63" y="45"/>
                </a:cubicBezTo>
                <a:cubicBezTo>
                  <a:pt x="63" y="45"/>
                  <a:pt x="63" y="45"/>
                  <a:pt x="63" y="45"/>
                </a:cubicBezTo>
                <a:cubicBezTo>
                  <a:pt x="65" y="45"/>
                  <a:pt x="65" y="45"/>
                  <a:pt x="65" y="45"/>
                </a:cubicBezTo>
                <a:cubicBezTo>
                  <a:pt x="66" y="45"/>
                  <a:pt x="66" y="45"/>
                  <a:pt x="66" y="45"/>
                </a:cubicBezTo>
                <a:cubicBezTo>
                  <a:pt x="66" y="46"/>
                  <a:pt x="66" y="46"/>
                  <a:pt x="66" y="46"/>
                </a:cubicBezTo>
                <a:cubicBezTo>
                  <a:pt x="66" y="48"/>
                  <a:pt x="66" y="48"/>
                  <a:pt x="66" y="48"/>
                </a:cubicBezTo>
                <a:cubicBezTo>
                  <a:pt x="66" y="50"/>
                  <a:pt x="66" y="50"/>
                  <a:pt x="66" y="50"/>
                </a:cubicBezTo>
                <a:cubicBezTo>
                  <a:pt x="66" y="52"/>
                  <a:pt x="66" y="52"/>
                  <a:pt x="66" y="52"/>
                </a:cubicBezTo>
                <a:cubicBezTo>
                  <a:pt x="66" y="52"/>
                  <a:pt x="66" y="52"/>
                  <a:pt x="65" y="52"/>
                </a:cubicBezTo>
                <a:close/>
                <a:moveTo>
                  <a:pt x="63" y="124"/>
                </a:moveTo>
                <a:cubicBezTo>
                  <a:pt x="64" y="126"/>
                  <a:pt x="64" y="126"/>
                  <a:pt x="64" y="126"/>
                </a:cubicBezTo>
                <a:cubicBezTo>
                  <a:pt x="64" y="128"/>
                  <a:pt x="64" y="128"/>
                  <a:pt x="64" y="128"/>
                </a:cubicBezTo>
                <a:cubicBezTo>
                  <a:pt x="63" y="126"/>
                  <a:pt x="63" y="126"/>
                  <a:pt x="63" y="126"/>
                </a:cubicBezTo>
                <a:cubicBezTo>
                  <a:pt x="63" y="126"/>
                  <a:pt x="63" y="126"/>
                  <a:pt x="63" y="126"/>
                </a:cubicBezTo>
                <a:lnTo>
                  <a:pt x="63" y="124"/>
                </a:lnTo>
                <a:close/>
                <a:moveTo>
                  <a:pt x="63" y="122"/>
                </a:moveTo>
                <a:cubicBezTo>
                  <a:pt x="62" y="123"/>
                  <a:pt x="62" y="123"/>
                  <a:pt x="62" y="123"/>
                </a:cubicBezTo>
                <a:cubicBezTo>
                  <a:pt x="61" y="124"/>
                  <a:pt x="61" y="124"/>
                  <a:pt x="61" y="124"/>
                </a:cubicBezTo>
                <a:cubicBezTo>
                  <a:pt x="60" y="122"/>
                  <a:pt x="60" y="122"/>
                  <a:pt x="60" y="122"/>
                </a:cubicBezTo>
                <a:cubicBezTo>
                  <a:pt x="61" y="122"/>
                  <a:pt x="61" y="122"/>
                  <a:pt x="61" y="122"/>
                </a:cubicBezTo>
                <a:cubicBezTo>
                  <a:pt x="62" y="122"/>
                  <a:pt x="62" y="122"/>
                  <a:pt x="62" y="122"/>
                </a:cubicBezTo>
                <a:cubicBezTo>
                  <a:pt x="63" y="122"/>
                  <a:pt x="63" y="122"/>
                  <a:pt x="63" y="122"/>
                </a:cubicBezTo>
                <a:close/>
                <a:moveTo>
                  <a:pt x="60" y="126"/>
                </a:moveTo>
                <a:cubicBezTo>
                  <a:pt x="60" y="127"/>
                  <a:pt x="60" y="127"/>
                  <a:pt x="60" y="127"/>
                </a:cubicBezTo>
                <a:cubicBezTo>
                  <a:pt x="59" y="128"/>
                  <a:pt x="59" y="128"/>
                  <a:pt x="59" y="128"/>
                </a:cubicBezTo>
                <a:cubicBezTo>
                  <a:pt x="59" y="126"/>
                  <a:pt x="59" y="126"/>
                  <a:pt x="59" y="126"/>
                </a:cubicBezTo>
                <a:cubicBezTo>
                  <a:pt x="59" y="124"/>
                  <a:pt x="59" y="124"/>
                  <a:pt x="59" y="124"/>
                </a:cubicBezTo>
                <a:lnTo>
                  <a:pt x="60" y="126"/>
                </a:lnTo>
                <a:close/>
                <a:moveTo>
                  <a:pt x="60" y="92"/>
                </a:moveTo>
                <a:cubicBezTo>
                  <a:pt x="62" y="92"/>
                  <a:pt x="62" y="92"/>
                  <a:pt x="62" y="92"/>
                </a:cubicBezTo>
                <a:cubicBezTo>
                  <a:pt x="61" y="93"/>
                  <a:pt x="61" y="93"/>
                  <a:pt x="61" y="93"/>
                </a:cubicBezTo>
                <a:cubicBezTo>
                  <a:pt x="61" y="94"/>
                  <a:pt x="61" y="94"/>
                  <a:pt x="61" y="94"/>
                </a:cubicBezTo>
                <a:cubicBezTo>
                  <a:pt x="61" y="93"/>
                  <a:pt x="61" y="93"/>
                  <a:pt x="61" y="93"/>
                </a:cubicBezTo>
                <a:lnTo>
                  <a:pt x="60" y="92"/>
                </a:lnTo>
                <a:close/>
                <a:moveTo>
                  <a:pt x="62" y="111"/>
                </a:moveTo>
                <a:cubicBezTo>
                  <a:pt x="62" y="112"/>
                  <a:pt x="62" y="112"/>
                  <a:pt x="62" y="112"/>
                </a:cubicBezTo>
                <a:cubicBezTo>
                  <a:pt x="61" y="113"/>
                  <a:pt x="61" y="113"/>
                  <a:pt x="61" y="113"/>
                </a:cubicBezTo>
                <a:cubicBezTo>
                  <a:pt x="60" y="111"/>
                  <a:pt x="60" y="111"/>
                  <a:pt x="60" y="111"/>
                </a:cubicBezTo>
                <a:cubicBezTo>
                  <a:pt x="61" y="111"/>
                  <a:pt x="61" y="111"/>
                  <a:pt x="61" y="111"/>
                </a:cubicBezTo>
                <a:cubicBezTo>
                  <a:pt x="62" y="111"/>
                  <a:pt x="62" y="111"/>
                  <a:pt x="62" y="111"/>
                </a:cubicBezTo>
                <a:cubicBezTo>
                  <a:pt x="62" y="111"/>
                  <a:pt x="62" y="111"/>
                  <a:pt x="62" y="111"/>
                </a:cubicBezTo>
                <a:close/>
                <a:moveTo>
                  <a:pt x="62" y="101"/>
                </a:moveTo>
                <a:cubicBezTo>
                  <a:pt x="62" y="102"/>
                  <a:pt x="62" y="102"/>
                  <a:pt x="62" y="102"/>
                </a:cubicBezTo>
                <a:cubicBezTo>
                  <a:pt x="61" y="103"/>
                  <a:pt x="61" y="103"/>
                  <a:pt x="61" y="103"/>
                </a:cubicBezTo>
                <a:cubicBezTo>
                  <a:pt x="60" y="101"/>
                  <a:pt x="60" y="101"/>
                  <a:pt x="60" y="101"/>
                </a:cubicBezTo>
                <a:cubicBezTo>
                  <a:pt x="61" y="101"/>
                  <a:pt x="61" y="101"/>
                  <a:pt x="61" y="101"/>
                </a:cubicBezTo>
                <a:cubicBezTo>
                  <a:pt x="62" y="101"/>
                  <a:pt x="62" y="101"/>
                  <a:pt x="62" y="101"/>
                </a:cubicBezTo>
                <a:cubicBezTo>
                  <a:pt x="62" y="101"/>
                  <a:pt x="62" y="101"/>
                  <a:pt x="62" y="101"/>
                </a:cubicBezTo>
                <a:close/>
                <a:moveTo>
                  <a:pt x="61" y="90"/>
                </a:moveTo>
                <a:cubicBezTo>
                  <a:pt x="60" y="90"/>
                  <a:pt x="60" y="90"/>
                  <a:pt x="60" y="90"/>
                </a:cubicBezTo>
                <a:cubicBezTo>
                  <a:pt x="60" y="89"/>
                  <a:pt x="60" y="89"/>
                  <a:pt x="60" y="89"/>
                </a:cubicBezTo>
                <a:cubicBezTo>
                  <a:pt x="61" y="88"/>
                  <a:pt x="61" y="88"/>
                  <a:pt x="61" y="88"/>
                </a:cubicBezTo>
                <a:cubicBezTo>
                  <a:pt x="62" y="90"/>
                  <a:pt x="62" y="90"/>
                  <a:pt x="62" y="90"/>
                </a:cubicBezTo>
                <a:lnTo>
                  <a:pt x="61" y="90"/>
                </a:lnTo>
                <a:close/>
                <a:moveTo>
                  <a:pt x="61" y="83"/>
                </a:moveTo>
                <a:cubicBezTo>
                  <a:pt x="61" y="84"/>
                  <a:pt x="61" y="84"/>
                  <a:pt x="61" y="84"/>
                </a:cubicBezTo>
                <a:cubicBezTo>
                  <a:pt x="60" y="82"/>
                  <a:pt x="60" y="82"/>
                  <a:pt x="60" y="82"/>
                </a:cubicBezTo>
                <a:cubicBezTo>
                  <a:pt x="60" y="82"/>
                  <a:pt x="60" y="82"/>
                  <a:pt x="60" y="82"/>
                </a:cubicBezTo>
                <a:cubicBezTo>
                  <a:pt x="62" y="82"/>
                  <a:pt x="62" y="82"/>
                  <a:pt x="62" y="82"/>
                </a:cubicBezTo>
                <a:lnTo>
                  <a:pt x="61" y="83"/>
                </a:lnTo>
                <a:close/>
                <a:moveTo>
                  <a:pt x="60" y="80"/>
                </a:moveTo>
                <a:cubicBezTo>
                  <a:pt x="61" y="78"/>
                  <a:pt x="61" y="78"/>
                  <a:pt x="61" y="78"/>
                </a:cubicBezTo>
                <a:cubicBezTo>
                  <a:pt x="61" y="78"/>
                  <a:pt x="61" y="78"/>
                  <a:pt x="61" y="78"/>
                </a:cubicBezTo>
                <a:cubicBezTo>
                  <a:pt x="61" y="79"/>
                  <a:pt x="61" y="79"/>
                  <a:pt x="61" y="79"/>
                </a:cubicBezTo>
                <a:cubicBezTo>
                  <a:pt x="62" y="80"/>
                  <a:pt x="62" y="80"/>
                  <a:pt x="62" y="80"/>
                </a:cubicBezTo>
                <a:lnTo>
                  <a:pt x="60" y="80"/>
                </a:lnTo>
                <a:close/>
                <a:moveTo>
                  <a:pt x="61" y="53"/>
                </a:moveTo>
                <a:cubicBezTo>
                  <a:pt x="59" y="53"/>
                  <a:pt x="59" y="53"/>
                  <a:pt x="59" y="53"/>
                </a:cubicBezTo>
                <a:cubicBezTo>
                  <a:pt x="59" y="52"/>
                  <a:pt x="59" y="52"/>
                  <a:pt x="59" y="52"/>
                </a:cubicBezTo>
                <a:cubicBezTo>
                  <a:pt x="59" y="51"/>
                  <a:pt x="59" y="51"/>
                  <a:pt x="59" y="51"/>
                </a:cubicBezTo>
                <a:cubicBezTo>
                  <a:pt x="59" y="48"/>
                  <a:pt x="59" y="48"/>
                  <a:pt x="59" y="48"/>
                </a:cubicBezTo>
                <a:cubicBezTo>
                  <a:pt x="59" y="47"/>
                  <a:pt x="59" y="47"/>
                  <a:pt x="59" y="47"/>
                </a:cubicBezTo>
                <a:cubicBezTo>
                  <a:pt x="59" y="45"/>
                  <a:pt x="59" y="45"/>
                  <a:pt x="59" y="45"/>
                </a:cubicBezTo>
                <a:cubicBezTo>
                  <a:pt x="61" y="45"/>
                  <a:pt x="61" y="45"/>
                  <a:pt x="61" y="45"/>
                </a:cubicBezTo>
                <a:cubicBezTo>
                  <a:pt x="61" y="45"/>
                  <a:pt x="61" y="45"/>
                  <a:pt x="61" y="45"/>
                </a:cubicBezTo>
                <a:cubicBezTo>
                  <a:pt x="61" y="45"/>
                  <a:pt x="61" y="45"/>
                  <a:pt x="61" y="45"/>
                </a:cubicBezTo>
                <a:cubicBezTo>
                  <a:pt x="61" y="49"/>
                  <a:pt x="61" y="49"/>
                  <a:pt x="61" y="49"/>
                </a:cubicBezTo>
                <a:cubicBezTo>
                  <a:pt x="61" y="50"/>
                  <a:pt x="61" y="50"/>
                  <a:pt x="61" y="50"/>
                </a:cubicBezTo>
                <a:cubicBezTo>
                  <a:pt x="61" y="52"/>
                  <a:pt x="61" y="52"/>
                  <a:pt x="61" y="52"/>
                </a:cubicBezTo>
                <a:cubicBezTo>
                  <a:pt x="61" y="53"/>
                  <a:pt x="61" y="53"/>
                  <a:pt x="61" y="53"/>
                </a:cubicBezTo>
                <a:close/>
                <a:moveTo>
                  <a:pt x="59" y="136"/>
                </a:moveTo>
                <a:cubicBezTo>
                  <a:pt x="59" y="135"/>
                  <a:pt x="59" y="135"/>
                  <a:pt x="59" y="135"/>
                </a:cubicBezTo>
                <a:cubicBezTo>
                  <a:pt x="60" y="136"/>
                  <a:pt x="60" y="136"/>
                  <a:pt x="60" y="136"/>
                </a:cubicBezTo>
                <a:cubicBezTo>
                  <a:pt x="60" y="137"/>
                  <a:pt x="60" y="137"/>
                  <a:pt x="60" y="137"/>
                </a:cubicBezTo>
                <a:cubicBezTo>
                  <a:pt x="59" y="137"/>
                  <a:pt x="59" y="137"/>
                  <a:pt x="59" y="137"/>
                </a:cubicBezTo>
                <a:lnTo>
                  <a:pt x="59" y="136"/>
                </a:lnTo>
                <a:close/>
                <a:moveTo>
                  <a:pt x="61" y="153"/>
                </a:moveTo>
                <a:cubicBezTo>
                  <a:pt x="60" y="153"/>
                  <a:pt x="60" y="153"/>
                  <a:pt x="60" y="153"/>
                </a:cubicBezTo>
                <a:cubicBezTo>
                  <a:pt x="59" y="155"/>
                  <a:pt x="59" y="155"/>
                  <a:pt x="59" y="155"/>
                </a:cubicBezTo>
                <a:cubicBezTo>
                  <a:pt x="59" y="153"/>
                  <a:pt x="59" y="153"/>
                  <a:pt x="59" y="153"/>
                </a:cubicBezTo>
                <a:cubicBezTo>
                  <a:pt x="59" y="151"/>
                  <a:pt x="59" y="151"/>
                  <a:pt x="59" y="151"/>
                </a:cubicBezTo>
                <a:lnTo>
                  <a:pt x="61" y="153"/>
                </a:lnTo>
                <a:close/>
                <a:moveTo>
                  <a:pt x="61" y="163"/>
                </a:moveTo>
                <a:cubicBezTo>
                  <a:pt x="61" y="163"/>
                  <a:pt x="61" y="163"/>
                  <a:pt x="61" y="163"/>
                </a:cubicBezTo>
                <a:cubicBezTo>
                  <a:pt x="60" y="165"/>
                  <a:pt x="60" y="165"/>
                  <a:pt x="60" y="165"/>
                </a:cubicBezTo>
                <a:cubicBezTo>
                  <a:pt x="59" y="166"/>
                  <a:pt x="59" y="166"/>
                  <a:pt x="59" y="166"/>
                </a:cubicBezTo>
                <a:cubicBezTo>
                  <a:pt x="59" y="165"/>
                  <a:pt x="59" y="165"/>
                  <a:pt x="59" y="165"/>
                </a:cubicBezTo>
                <a:cubicBezTo>
                  <a:pt x="59" y="161"/>
                  <a:pt x="59" y="161"/>
                  <a:pt x="59" y="161"/>
                </a:cubicBezTo>
                <a:cubicBezTo>
                  <a:pt x="59" y="160"/>
                  <a:pt x="59" y="160"/>
                  <a:pt x="59" y="160"/>
                </a:cubicBezTo>
                <a:lnTo>
                  <a:pt x="61" y="163"/>
                </a:lnTo>
                <a:close/>
                <a:moveTo>
                  <a:pt x="59" y="172"/>
                </a:moveTo>
                <a:cubicBezTo>
                  <a:pt x="61" y="175"/>
                  <a:pt x="61" y="175"/>
                  <a:pt x="61" y="175"/>
                </a:cubicBezTo>
                <a:cubicBezTo>
                  <a:pt x="60" y="176"/>
                  <a:pt x="60" y="176"/>
                  <a:pt x="60" y="176"/>
                </a:cubicBezTo>
                <a:cubicBezTo>
                  <a:pt x="59" y="178"/>
                  <a:pt x="59" y="178"/>
                  <a:pt x="59" y="178"/>
                </a:cubicBezTo>
                <a:cubicBezTo>
                  <a:pt x="59" y="175"/>
                  <a:pt x="59" y="175"/>
                  <a:pt x="59" y="175"/>
                </a:cubicBezTo>
                <a:cubicBezTo>
                  <a:pt x="59" y="172"/>
                  <a:pt x="59" y="172"/>
                  <a:pt x="59" y="172"/>
                </a:cubicBezTo>
                <a:cubicBezTo>
                  <a:pt x="59" y="172"/>
                  <a:pt x="59" y="172"/>
                  <a:pt x="59" y="172"/>
                </a:cubicBezTo>
                <a:close/>
                <a:moveTo>
                  <a:pt x="61" y="186"/>
                </a:moveTo>
                <a:cubicBezTo>
                  <a:pt x="61" y="186"/>
                  <a:pt x="61" y="186"/>
                  <a:pt x="61" y="186"/>
                </a:cubicBezTo>
                <a:cubicBezTo>
                  <a:pt x="60" y="188"/>
                  <a:pt x="60" y="188"/>
                  <a:pt x="60" y="188"/>
                </a:cubicBezTo>
                <a:cubicBezTo>
                  <a:pt x="59" y="189"/>
                  <a:pt x="59" y="189"/>
                  <a:pt x="59" y="189"/>
                </a:cubicBezTo>
                <a:cubicBezTo>
                  <a:pt x="59" y="187"/>
                  <a:pt x="59" y="187"/>
                  <a:pt x="59" y="187"/>
                </a:cubicBezTo>
                <a:cubicBezTo>
                  <a:pt x="59" y="184"/>
                  <a:pt x="59" y="184"/>
                  <a:pt x="59" y="184"/>
                </a:cubicBezTo>
                <a:cubicBezTo>
                  <a:pt x="59" y="183"/>
                  <a:pt x="59" y="183"/>
                  <a:pt x="59" y="183"/>
                </a:cubicBezTo>
                <a:lnTo>
                  <a:pt x="61" y="186"/>
                </a:lnTo>
                <a:close/>
                <a:moveTo>
                  <a:pt x="61" y="197"/>
                </a:moveTo>
                <a:cubicBezTo>
                  <a:pt x="61" y="198"/>
                  <a:pt x="61" y="198"/>
                  <a:pt x="61" y="198"/>
                </a:cubicBezTo>
                <a:cubicBezTo>
                  <a:pt x="59" y="199"/>
                  <a:pt x="59" y="199"/>
                  <a:pt x="59" y="199"/>
                </a:cubicBezTo>
                <a:cubicBezTo>
                  <a:pt x="59" y="200"/>
                  <a:pt x="59" y="200"/>
                  <a:pt x="59" y="200"/>
                </a:cubicBezTo>
                <a:cubicBezTo>
                  <a:pt x="59" y="199"/>
                  <a:pt x="59" y="199"/>
                  <a:pt x="59" y="199"/>
                </a:cubicBezTo>
                <a:cubicBezTo>
                  <a:pt x="59" y="196"/>
                  <a:pt x="59" y="196"/>
                  <a:pt x="59" y="196"/>
                </a:cubicBezTo>
                <a:cubicBezTo>
                  <a:pt x="59" y="194"/>
                  <a:pt x="59" y="194"/>
                  <a:pt x="59" y="194"/>
                </a:cubicBezTo>
                <a:lnTo>
                  <a:pt x="61" y="197"/>
                </a:lnTo>
                <a:close/>
                <a:moveTo>
                  <a:pt x="62" y="209"/>
                </a:moveTo>
                <a:cubicBezTo>
                  <a:pt x="61" y="210"/>
                  <a:pt x="61" y="210"/>
                  <a:pt x="61" y="210"/>
                </a:cubicBezTo>
                <a:cubicBezTo>
                  <a:pt x="59" y="213"/>
                  <a:pt x="59" y="213"/>
                  <a:pt x="59" y="213"/>
                </a:cubicBezTo>
                <a:cubicBezTo>
                  <a:pt x="59" y="214"/>
                  <a:pt x="59" y="214"/>
                  <a:pt x="59" y="214"/>
                </a:cubicBezTo>
                <a:cubicBezTo>
                  <a:pt x="59" y="213"/>
                  <a:pt x="59" y="213"/>
                  <a:pt x="59" y="213"/>
                </a:cubicBezTo>
                <a:cubicBezTo>
                  <a:pt x="59" y="208"/>
                  <a:pt x="59" y="208"/>
                  <a:pt x="59" y="208"/>
                </a:cubicBezTo>
                <a:cubicBezTo>
                  <a:pt x="59" y="205"/>
                  <a:pt x="59" y="205"/>
                  <a:pt x="59" y="205"/>
                </a:cubicBezTo>
                <a:lnTo>
                  <a:pt x="62" y="209"/>
                </a:lnTo>
                <a:close/>
                <a:moveTo>
                  <a:pt x="62" y="224"/>
                </a:moveTo>
                <a:cubicBezTo>
                  <a:pt x="62" y="224"/>
                  <a:pt x="62" y="224"/>
                  <a:pt x="62" y="224"/>
                </a:cubicBezTo>
                <a:cubicBezTo>
                  <a:pt x="58" y="229"/>
                  <a:pt x="58" y="229"/>
                  <a:pt x="58" y="229"/>
                </a:cubicBezTo>
                <a:cubicBezTo>
                  <a:pt x="58" y="226"/>
                  <a:pt x="58" y="224"/>
                  <a:pt x="58" y="221"/>
                </a:cubicBezTo>
                <a:cubicBezTo>
                  <a:pt x="58" y="220"/>
                  <a:pt x="58" y="220"/>
                  <a:pt x="58" y="220"/>
                </a:cubicBezTo>
                <a:lnTo>
                  <a:pt x="62" y="224"/>
                </a:lnTo>
                <a:close/>
                <a:moveTo>
                  <a:pt x="62" y="240"/>
                </a:moveTo>
                <a:cubicBezTo>
                  <a:pt x="62" y="240"/>
                  <a:pt x="62" y="240"/>
                  <a:pt x="62" y="240"/>
                </a:cubicBezTo>
                <a:cubicBezTo>
                  <a:pt x="59" y="244"/>
                  <a:pt x="59" y="244"/>
                  <a:pt x="59" y="244"/>
                </a:cubicBezTo>
                <a:cubicBezTo>
                  <a:pt x="58" y="245"/>
                  <a:pt x="58" y="245"/>
                  <a:pt x="58" y="245"/>
                </a:cubicBezTo>
                <a:cubicBezTo>
                  <a:pt x="58" y="246"/>
                  <a:pt x="58" y="246"/>
                  <a:pt x="58" y="246"/>
                </a:cubicBezTo>
                <a:cubicBezTo>
                  <a:pt x="58" y="245"/>
                  <a:pt x="58" y="245"/>
                  <a:pt x="58" y="245"/>
                </a:cubicBezTo>
                <a:cubicBezTo>
                  <a:pt x="58" y="243"/>
                  <a:pt x="58" y="243"/>
                  <a:pt x="58" y="243"/>
                </a:cubicBezTo>
                <a:cubicBezTo>
                  <a:pt x="58" y="241"/>
                  <a:pt x="58" y="239"/>
                  <a:pt x="58" y="237"/>
                </a:cubicBezTo>
                <a:cubicBezTo>
                  <a:pt x="58" y="235"/>
                  <a:pt x="58" y="235"/>
                  <a:pt x="58" y="235"/>
                </a:cubicBezTo>
                <a:lnTo>
                  <a:pt x="62" y="240"/>
                </a:lnTo>
                <a:close/>
                <a:moveTo>
                  <a:pt x="62" y="255"/>
                </a:moveTo>
                <a:cubicBezTo>
                  <a:pt x="61" y="257"/>
                  <a:pt x="61" y="257"/>
                  <a:pt x="61" y="257"/>
                </a:cubicBezTo>
                <a:cubicBezTo>
                  <a:pt x="57" y="260"/>
                  <a:pt x="57" y="260"/>
                  <a:pt x="57" y="260"/>
                </a:cubicBezTo>
                <a:cubicBezTo>
                  <a:pt x="57" y="261"/>
                  <a:pt x="57" y="261"/>
                  <a:pt x="57" y="261"/>
                </a:cubicBezTo>
                <a:cubicBezTo>
                  <a:pt x="57" y="261"/>
                  <a:pt x="57" y="261"/>
                  <a:pt x="57" y="261"/>
                </a:cubicBezTo>
                <a:cubicBezTo>
                  <a:pt x="57" y="260"/>
                  <a:pt x="57" y="260"/>
                  <a:pt x="57" y="260"/>
                </a:cubicBezTo>
                <a:cubicBezTo>
                  <a:pt x="57" y="258"/>
                  <a:pt x="57" y="256"/>
                  <a:pt x="57" y="254"/>
                </a:cubicBezTo>
                <a:cubicBezTo>
                  <a:pt x="58" y="251"/>
                  <a:pt x="58" y="251"/>
                  <a:pt x="58" y="251"/>
                </a:cubicBezTo>
                <a:lnTo>
                  <a:pt x="62" y="255"/>
                </a:lnTo>
                <a:close/>
                <a:moveTo>
                  <a:pt x="55" y="175"/>
                </a:moveTo>
                <a:cubicBezTo>
                  <a:pt x="54" y="175"/>
                  <a:pt x="54" y="175"/>
                  <a:pt x="54" y="175"/>
                </a:cubicBezTo>
                <a:cubicBezTo>
                  <a:pt x="55" y="174"/>
                  <a:pt x="55" y="174"/>
                  <a:pt x="55" y="174"/>
                </a:cubicBezTo>
                <a:cubicBezTo>
                  <a:pt x="56" y="173"/>
                  <a:pt x="56" y="173"/>
                  <a:pt x="56" y="173"/>
                </a:cubicBezTo>
                <a:cubicBezTo>
                  <a:pt x="57" y="171"/>
                  <a:pt x="57" y="171"/>
                  <a:pt x="57" y="171"/>
                </a:cubicBezTo>
                <a:cubicBezTo>
                  <a:pt x="57" y="174"/>
                  <a:pt x="57" y="174"/>
                  <a:pt x="57" y="174"/>
                </a:cubicBezTo>
                <a:cubicBezTo>
                  <a:pt x="57" y="176"/>
                  <a:pt x="57" y="176"/>
                  <a:pt x="57" y="176"/>
                </a:cubicBezTo>
                <a:cubicBezTo>
                  <a:pt x="57" y="178"/>
                  <a:pt x="57" y="178"/>
                  <a:pt x="57" y="178"/>
                </a:cubicBezTo>
                <a:cubicBezTo>
                  <a:pt x="57" y="178"/>
                  <a:pt x="57" y="178"/>
                  <a:pt x="57" y="178"/>
                </a:cubicBezTo>
                <a:lnTo>
                  <a:pt x="55" y="175"/>
                </a:lnTo>
                <a:close/>
                <a:moveTo>
                  <a:pt x="55" y="163"/>
                </a:moveTo>
                <a:cubicBezTo>
                  <a:pt x="55" y="162"/>
                  <a:pt x="55" y="162"/>
                  <a:pt x="55" y="162"/>
                </a:cubicBezTo>
                <a:cubicBezTo>
                  <a:pt x="56" y="162"/>
                  <a:pt x="56" y="162"/>
                  <a:pt x="56" y="162"/>
                </a:cubicBezTo>
                <a:cubicBezTo>
                  <a:pt x="57" y="160"/>
                  <a:pt x="57" y="160"/>
                  <a:pt x="57" y="160"/>
                </a:cubicBezTo>
                <a:cubicBezTo>
                  <a:pt x="57" y="163"/>
                  <a:pt x="57" y="163"/>
                  <a:pt x="57" y="163"/>
                </a:cubicBezTo>
                <a:cubicBezTo>
                  <a:pt x="57" y="164"/>
                  <a:pt x="57" y="164"/>
                  <a:pt x="57" y="164"/>
                </a:cubicBezTo>
                <a:cubicBezTo>
                  <a:pt x="57" y="166"/>
                  <a:pt x="57" y="166"/>
                  <a:pt x="57" y="166"/>
                </a:cubicBezTo>
                <a:lnTo>
                  <a:pt x="55" y="163"/>
                </a:lnTo>
                <a:close/>
                <a:moveTo>
                  <a:pt x="58" y="86"/>
                </a:moveTo>
                <a:cubicBezTo>
                  <a:pt x="58" y="88"/>
                  <a:pt x="58" y="88"/>
                  <a:pt x="58" y="88"/>
                </a:cubicBezTo>
                <a:cubicBezTo>
                  <a:pt x="56" y="86"/>
                  <a:pt x="56" y="86"/>
                  <a:pt x="56" y="86"/>
                </a:cubicBezTo>
                <a:cubicBezTo>
                  <a:pt x="57" y="85"/>
                  <a:pt x="57" y="85"/>
                  <a:pt x="57" y="85"/>
                </a:cubicBezTo>
                <a:cubicBezTo>
                  <a:pt x="57" y="84"/>
                  <a:pt x="57" y="84"/>
                  <a:pt x="57" y="84"/>
                </a:cubicBezTo>
                <a:cubicBezTo>
                  <a:pt x="58" y="84"/>
                  <a:pt x="58" y="84"/>
                  <a:pt x="58" y="84"/>
                </a:cubicBezTo>
                <a:cubicBezTo>
                  <a:pt x="58" y="85"/>
                  <a:pt x="58" y="85"/>
                  <a:pt x="58" y="85"/>
                </a:cubicBezTo>
                <a:lnTo>
                  <a:pt x="58" y="86"/>
                </a:lnTo>
                <a:close/>
                <a:moveTo>
                  <a:pt x="58" y="78"/>
                </a:moveTo>
                <a:cubicBezTo>
                  <a:pt x="57" y="76"/>
                  <a:pt x="57" y="76"/>
                  <a:pt x="57" y="76"/>
                </a:cubicBezTo>
                <a:cubicBezTo>
                  <a:pt x="57" y="75"/>
                  <a:pt x="57" y="75"/>
                  <a:pt x="57" y="75"/>
                </a:cubicBezTo>
                <a:cubicBezTo>
                  <a:pt x="58" y="75"/>
                  <a:pt x="58" y="75"/>
                  <a:pt x="58" y="75"/>
                </a:cubicBezTo>
                <a:cubicBezTo>
                  <a:pt x="58" y="75"/>
                  <a:pt x="58" y="75"/>
                  <a:pt x="58" y="75"/>
                </a:cubicBezTo>
                <a:cubicBezTo>
                  <a:pt x="58" y="75"/>
                  <a:pt x="58" y="75"/>
                  <a:pt x="58" y="75"/>
                </a:cubicBezTo>
                <a:lnTo>
                  <a:pt x="58" y="78"/>
                </a:lnTo>
                <a:close/>
                <a:moveTo>
                  <a:pt x="54" y="76"/>
                </a:moveTo>
                <a:cubicBezTo>
                  <a:pt x="54" y="77"/>
                  <a:pt x="54" y="77"/>
                  <a:pt x="54" y="77"/>
                </a:cubicBezTo>
                <a:cubicBezTo>
                  <a:pt x="54" y="77"/>
                  <a:pt x="54" y="77"/>
                  <a:pt x="54" y="77"/>
                </a:cubicBezTo>
                <a:cubicBezTo>
                  <a:pt x="54" y="78"/>
                  <a:pt x="54" y="78"/>
                  <a:pt x="54" y="78"/>
                </a:cubicBezTo>
                <a:cubicBezTo>
                  <a:pt x="54" y="77"/>
                  <a:pt x="54" y="77"/>
                  <a:pt x="54" y="77"/>
                </a:cubicBezTo>
                <a:cubicBezTo>
                  <a:pt x="54" y="76"/>
                  <a:pt x="54" y="76"/>
                  <a:pt x="54" y="76"/>
                </a:cubicBezTo>
                <a:cubicBezTo>
                  <a:pt x="54" y="75"/>
                  <a:pt x="54" y="75"/>
                  <a:pt x="54" y="75"/>
                </a:cubicBezTo>
                <a:lnTo>
                  <a:pt x="54" y="76"/>
                </a:lnTo>
                <a:close/>
                <a:moveTo>
                  <a:pt x="54" y="86"/>
                </a:moveTo>
                <a:cubicBezTo>
                  <a:pt x="54" y="86"/>
                  <a:pt x="54" y="86"/>
                  <a:pt x="54" y="86"/>
                </a:cubicBezTo>
                <a:cubicBezTo>
                  <a:pt x="53" y="87"/>
                  <a:pt x="53" y="87"/>
                  <a:pt x="53" y="87"/>
                </a:cubicBezTo>
                <a:cubicBezTo>
                  <a:pt x="53" y="88"/>
                  <a:pt x="53" y="88"/>
                  <a:pt x="53" y="88"/>
                </a:cubicBezTo>
                <a:cubicBezTo>
                  <a:pt x="53" y="88"/>
                  <a:pt x="53" y="88"/>
                  <a:pt x="53" y="88"/>
                </a:cubicBezTo>
                <a:cubicBezTo>
                  <a:pt x="53" y="88"/>
                  <a:pt x="53" y="88"/>
                  <a:pt x="53" y="88"/>
                </a:cubicBezTo>
                <a:cubicBezTo>
                  <a:pt x="53" y="87"/>
                  <a:pt x="53" y="87"/>
                  <a:pt x="53" y="87"/>
                </a:cubicBezTo>
                <a:cubicBezTo>
                  <a:pt x="53" y="86"/>
                  <a:pt x="53" y="86"/>
                  <a:pt x="53" y="86"/>
                </a:cubicBezTo>
                <a:cubicBezTo>
                  <a:pt x="53" y="84"/>
                  <a:pt x="53" y="84"/>
                  <a:pt x="53" y="84"/>
                </a:cubicBezTo>
                <a:lnTo>
                  <a:pt x="54" y="86"/>
                </a:lnTo>
                <a:close/>
                <a:moveTo>
                  <a:pt x="54" y="96"/>
                </a:moveTo>
                <a:cubicBezTo>
                  <a:pt x="54" y="96"/>
                  <a:pt x="54" y="96"/>
                  <a:pt x="54" y="96"/>
                </a:cubicBezTo>
                <a:cubicBezTo>
                  <a:pt x="53" y="97"/>
                  <a:pt x="53" y="97"/>
                  <a:pt x="53" y="97"/>
                </a:cubicBezTo>
                <a:cubicBezTo>
                  <a:pt x="53" y="96"/>
                  <a:pt x="53" y="96"/>
                  <a:pt x="53" y="96"/>
                </a:cubicBezTo>
                <a:cubicBezTo>
                  <a:pt x="53" y="94"/>
                  <a:pt x="53" y="94"/>
                  <a:pt x="53" y="94"/>
                </a:cubicBezTo>
                <a:cubicBezTo>
                  <a:pt x="53" y="94"/>
                  <a:pt x="53" y="94"/>
                  <a:pt x="53" y="94"/>
                </a:cubicBezTo>
                <a:lnTo>
                  <a:pt x="54" y="96"/>
                </a:lnTo>
                <a:close/>
                <a:moveTo>
                  <a:pt x="54" y="102"/>
                </a:moveTo>
                <a:cubicBezTo>
                  <a:pt x="55" y="102"/>
                  <a:pt x="55" y="102"/>
                  <a:pt x="55" y="102"/>
                </a:cubicBezTo>
                <a:cubicBezTo>
                  <a:pt x="56" y="102"/>
                  <a:pt x="56" y="102"/>
                  <a:pt x="56" y="102"/>
                </a:cubicBezTo>
                <a:cubicBezTo>
                  <a:pt x="57" y="102"/>
                  <a:pt x="57" y="102"/>
                  <a:pt x="57" y="102"/>
                </a:cubicBezTo>
                <a:cubicBezTo>
                  <a:pt x="56" y="102"/>
                  <a:pt x="56" y="102"/>
                  <a:pt x="56" y="102"/>
                </a:cubicBezTo>
                <a:cubicBezTo>
                  <a:pt x="56" y="102"/>
                  <a:pt x="56" y="102"/>
                  <a:pt x="56" y="102"/>
                </a:cubicBezTo>
                <a:cubicBezTo>
                  <a:pt x="55" y="103"/>
                  <a:pt x="55" y="103"/>
                  <a:pt x="55" y="103"/>
                </a:cubicBezTo>
                <a:cubicBezTo>
                  <a:pt x="55" y="104"/>
                  <a:pt x="55" y="104"/>
                  <a:pt x="55" y="104"/>
                </a:cubicBezTo>
                <a:cubicBezTo>
                  <a:pt x="53" y="102"/>
                  <a:pt x="53" y="102"/>
                  <a:pt x="53" y="102"/>
                </a:cubicBezTo>
                <a:lnTo>
                  <a:pt x="54" y="102"/>
                </a:lnTo>
                <a:close/>
                <a:moveTo>
                  <a:pt x="55" y="111"/>
                </a:moveTo>
                <a:cubicBezTo>
                  <a:pt x="57" y="111"/>
                  <a:pt x="57" y="111"/>
                  <a:pt x="57" y="111"/>
                </a:cubicBezTo>
                <a:cubicBezTo>
                  <a:pt x="56" y="112"/>
                  <a:pt x="56" y="112"/>
                  <a:pt x="56" y="112"/>
                </a:cubicBezTo>
                <a:cubicBezTo>
                  <a:pt x="56" y="112"/>
                  <a:pt x="56" y="112"/>
                  <a:pt x="56" y="112"/>
                </a:cubicBezTo>
                <a:cubicBezTo>
                  <a:pt x="55" y="113"/>
                  <a:pt x="55" y="113"/>
                  <a:pt x="55" y="113"/>
                </a:cubicBezTo>
                <a:cubicBezTo>
                  <a:pt x="55" y="114"/>
                  <a:pt x="55" y="114"/>
                  <a:pt x="55" y="114"/>
                </a:cubicBezTo>
                <a:cubicBezTo>
                  <a:pt x="53" y="111"/>
                  <a:pt x="53" y="111"/>
                  <a:pt x="53" y="111"/>
                </a:cubicBezTo>
                <a:cubicBezTo>
                  <a:pt x="53" y="111"/>
                  <a:pt x="53" y="111"/>
                  <a:pt x="53" y="111"/>
                </a:cubicBezTo>
                <a:cubicBezTo>
                  <a:pt x="54" y="111"/>
                  <a:pt x="54" y="111"/>
                  <a:pt x="54" y="111"/>
                </a:cubicBezTo>
                <a:lnTo>
                  <a:pt x="55" y="111"/>
                </a:lnTo>
                <a:close/>
                <a:moveTo>
                  <a:pt x="57" y="122"/>
                </a:moveTo>
                <a:cubicBezTo>
                  <a:pt x="56" y="123"/>
                  <a:pt x="56" y="123"/>
                  <a:pt x="56" y="123"/>
                </a:cubicBezTo>
                <a:cubicBezTo>
                  <a:pt x="55" y="124"/>
                  <a:pt x="55" y="124"/>
                  <a:pt x="55" y="124"/>
                </a:cubicBezTo>
                <a:cubicBezTo>
                  <a:pt x="55" y="125"/>
                  <a:pt x="55" y="125"/>
                  <a:pt x="55" y="125"/>
                </a:cubicBezTo>
                <a:cubicBezTo>
                  <a:pt x="53" y="122"/>
                  <a:pt x="53" y="122"/>
                  <a:pt x="53" y="122"/>
                </a:cubicBezTo>
                <a:cubicBezTo>
                  <a:pt x="53" y="122"/>
                  <a:pt x="53" y="122"/>
                  <a:pt x="53" y="122"/>
                </a:cubicBezTo>
                <a:cubicBezTo>
                  <a:pt x="55" y="122"/>
                  <a:pt x="55" y="122"/>
                  <a:pt x="55" y="122"/>
                </a:cubicBezTo>
                <a:lnTo>
                  <a:pt x="57" y="122"/>
                </a:lnTo>
                <a:close/>
                <a:moveTo>
                  <a:pt x="55" y="128"/>
                </a:moveTo>
                <a:cubicBezTo>
                  <a:pt x="57" y="131"/>
                  <a:pt x="57" y="131"/>
                  <a:pt x="57" y="131"/>
                </a:cubicBezTo>
                <a:cubicBezTo>
                  <a:pt x="56" y="131"/>
                  <a:pt x="56" y="131"/>
                  <a:pt x="56" y="131"/>
                </a:cubicBezTo>
                <a:cubicBezTo>
                  <a:pt x="54" y="131"/>
                  <a:pt x="54" y="131"/>
                  <a:pt x="54" y="131"/>
                </a:cubicBezTo>
                <a:cubicBezTo>
                  <a:pt x="52" y="131"/>
                  <a:pt x="52" y="131"/>
                  <a:pt x="52" y="131"/>
                </a:cubicBezTo>
                <a:cubicBezTo>
                  <a:pt x="53" y="130"/>
                  <a:pt x="53" y="130"/>
                  <a:pt x="53" y="130"/>
                </a:cubicBezTo>
                <a:cubicBezTo>
                  <a:pt x="54" y="129"/>
                  <a:pt x="54" y="129"/>
                  <a:pt x="54" y="129"/>
                </a:cubicBezTo>
                <a:lnTo>
                  <a:pt x="55" y="128"/>
                </a:lnTo>
                <a:close/>
                <a:moveTo>
                  <a:pt x="53" y="133"/>
                </a:moveTo>
                <a:cubicBezTo>
                  <a:pt x="56" y="133"/>
                  <a:pt x="56" y="133"/>
                  <a:pt x="56" y="133"/>
                </a:cubicBezTo>
                <a:cubicBezTo>
                  <a:pt x="56" y="133"/>
                  <a:pt x="56" y="133"/>
                  <a:pt x="56" y="133"/>
                </a:cubicBezTo>
                <a:cubicBezTo>
                  <a:pt x="56" y="133"/>
                  <a:pt x="56" y="133"/>
                  <a:pt x="56" y="133"/>
                </a:cubicBezTo>
                <a:cubicBezTo>
                  <a:pt x="55" y="134"/>
                  <a:pt x="55" y="134"/>
                  <a:pt x="55" y="134"/>
                </a:cubicBezTo>
                <a:cubicBezTo>
                  <a:pt x="54" y="135"/>
                  <a:pt x="54" y="135"/>
                  <a:pt x="54" y="135"/>
                </a:cubicBezTo>
                <a:cubicBezTo>
                  <a:pt x="52" y="133"/>
                  <a:pt x="52" y="133"/>
                  <a:pt x="52" y="133"/>
                </a:cubicBezTo>
                <a:lnTo>
                  <a:pt x="53" y="133"/>
                </a:lnTo>
                <a:close/>
                <a:moveTo>
                  <a:pt x="54" y="137"/>
                </a:moveTo>
                <a:cubicBezTo>
                  <a:pt x="56" y="140"/>
                  <a:pt x="56" y="140"/>
                  <a:pt x="56" y="140"/>
                </a:cubicBezTo>
                <a:cubicBezTo>
                  <a:pt x="55" y="140"/>
                  <a:pt x="55" y="140"/>
                  <a:pt x="55" y="140"/>
                </a:cubicBezTo>
                <a:cubicBezTo>
                  <a:pt x="53" y="140"/>
                  <a:pt x="53" y="140"/>
                  <a:pt x="53" y="140"/>
                </a:cubicBezTo>
                <a:cubicBezTo>
                  <a:pt x="52" y="140"/>
                  <a:pt x="52" y="140"/>
                  <a:pt x="52" y="140"/>
                </a:cubicBezTo>
                <a:cubicBezTo>
                  <a:pt x="53" y="139"/>
                  <a:pt x="53" y="139"/>
                  <a:pt x="53" y="139"/>
                </a:cubicBezTo>
                <a:cubicBezTo>
                  <a:pt x="53" y="138"/>
                  <a:pt x="53" y="138"/>
                  <a:pt x="53" y="138"/>
                </a:cubicBezTo>
                <a:lnTo>
                  <a:pt x="54" y="137"/>
                </a:lnTo>
                <a:close/>
                <a:moveTo>
                  <a:pt x="53" y="141"/>
                </a:moveTo>
                <a:cubicBezTo>
                  <a:pt x="54" y="141"/>
                  <a:pt x="54" y="141"/>
                  <a:pt x="54" y="141"/>
                </a:cubicBezTo>
                <a:cubicBezTo>
                  <a:pt x="55" y="141"/>
                  <a:pt x="55" y="141"/>
                  <a:pt x="55" y="141"/>
                </a:cubicBezTo>
                <a:cubicBezTo>
                  <a:pt x="56" y="141"/>
                  <a:pt x="56" y="141"/>
                  <a:pt x="56" y="141"/>
                </a:cubicBezTo>
                <a:cubicBezTo>
                  <a:pt x="56" y="142"/>
                  <a:pt x="56" y="142"/>
                  <a:pt x="56" y="142"/>
                </a:cubicBezTo>
                <a:cubicBezTo>
                  <a:pt x="55" y="142"/>
                  <a:pt x="55" y="142"/>
                  <a:pt x="55" y="142"/>
                </a:cubicBezTo>
                <a:cubicBezTo>
                  <a:pt x="54" y="143"/>
                  <a:pt x="54" y="143"/>
                  <a:pt x="54" y="143"/>
                </a:cubicBezTo>
                <a:cubicBezTo>
                  <a:pt x="54" y="143"/>
                  <a:pt x="54" y="143"/>
                  <a:pt x="54" y="143"/>
                </a:cubicBezTo>
                <a:cubicBezTo>
                  <a:pt x="52" y="141"/>
                  <a:pt x="52" y="141"/>
                  <a:pt x="52" y="141"/>
                </a:cubicBezTo>
                <a:lnTo>
                  <a:pt x="53" y="141"/>
                </a:lnTo>
                <a:close/>
                <a:moveTo>
                  <a:pt x="54" y="146"/>
                </a:moveTo>
                <a:cubicBezTo>
                  <a:pt x="56" y="148"/>
                  <a:pt x="56" y="148"/>
                  <a:pt x="56" y="148"/>
                </a:cubicBezTo>
                <a:cubicBezTo>
                  <a:pt x="54" y="148"/>
                  <a:pt x="54" y="148"/>
                  <a:pt x="54" y="148"/>
                </a:cubicBezTo>
                <a:cubicBezTo>
                  <a:pt x="52" y="148"/>
                  <a:pt x="52" y="148"/>
                  <a:pt x="52" y="148"/>
                </a:cubicBezTo>
                <a:cubicBezTo>
                  <a:pt x="52" y="148"/>
                  <a:pt x="52" y="148"/>
                  <a:pt x="52" y="148"/>
                </a:cubicBezTo>
                <a:cubicBezTo>
                  <a:pt x="52" y="148"/>
                  <a:pt x="52" y="148"/>
                  <a:pt x="52" y="148"/>
                </a:cubicBezTo>
                <a:cubicBezTo>
                  <a:pt x="53" y="147"/>
                  <a:pt x="53" y="147"/>
                  <a:pt x="53" y="147"/>
                </a:cubicBezTo>
                <a:lnTo>
                  <a:pt x="54" y="146"/>
                </a:lnTo>
                <a:close/>
                <a:moveTo>
                  <a:pt x="54" y="150"/>
                </a:moveTo>
                <a:cubicBezTo>
                  <a:pt x="56" y="150"/>
                  <a:pt x="56" y="150"/>
                  <a:pt x="56" y="150"/>
                </a:cubicBezTo>
                <a:cubicBezTo>
                  <a:pt x="55" y="151"/>
                  <a:pt x="55" y="151"/>
                  <a:pt x="55" y="151"/>
                </a:cubicBezTo>
                <a:cubicBezTo>
                  <a:pt x="54" y="152"/>
                  <a:pt x="54" y="152"/>
                  <a:pt x="54" y="152"/>
                </a:cubicBezTo>
                <a:cubicBezTo>
                  <a:pt x="52" y="150"/>
                  <a:pt x="52" y="150"/>
                  <a:pt x="52" y="150"/>
                </a:cubicBezTo>
                <a:lnTo>
                  <a:pt x="54" y="150"/>
                </a:lnTo>
                <a:close/>
                <a:moveTo>
                  <a:pt x="54" y="154"/>
                </a:moveTo>
                <a:cubicBezTo>
                  <a:pt x="56" y="156"/>
                  <a:pt x="56" y="156"/>
                  <a:pt x="56" y="156"/>
                </a:cubicBezTo>
                <a:cubicBezTo>
                  <a:pt x="54" y="156"/>
                  <a:pt x="54" y="156"/>
                  <a:pt x="54" y="156"/>
                </a:cubicBezTo>
                <a:cubicBezTo>
                  <a:pt x="51" y="157"/>
                  <a:pt x="51" y="157"/>
                  <a:pt x="51" y="157"/>
                </a:cubicBezTo>
                <a:cubicBezTo>
                  <a:pt x="53" y="155"/>
                  <a:pt x="53" y="155"/>
                  <a:pt x="53" y="155"/>
                </a:cubicBezTo>
                <a:lnTo>
                  <a:pt x="54" y="154"/>
                </a:lnTo>
                <a:close/>
                <a:moveTo>
                  <a:pt x="52" y="158"/>
                </a:moveTo>
                <a:cubicBezTo>
                  <a:pt x="56" y="158"/>
                  <a:pt x="56" y="158"/>
                  <a:pt x="56" y="158"/>
                </a:cubicBezTo>
                <a:cubicBezTo>
                  <a:pt x="56" y="158"/>
                  <a:pt x="56" y="158"/>
                  <a:pt x="56" y="158"/>
                </a:cubicBezTo>
                <a:cubicBezTo>
                  <a:pt x="56" y="159"/>
                  <a:pt x="56" y="159"/>
                  <a:pt x="56" y="159"/>
                </a:cubicBezTo>
                <a:cubicBezTo>
                  <a:pt x="54" y="160"/>
                  <a:pt x="54" y="160"/>
                  <a:pt x="54" y="160"/>
                </a:cubicBezTo>
                <a:cubicBezTo>
                  <a:pt x="54" y="161"/>
                  <a:pt x="54" y="161"/>
                  <a:pt x="54" y="161"/>
                </a:cubicBezTo>
                <a:cubicBezTo>
                  <a:pt x="53" y="162"/>
                  <a:pt x="53" y="162"/>
                  <a:pt x="53" y="162"/>
                </a:cubicBezTo>
                <a:cubicBezTo>
                  <a:pt x="51" y="159"/>
                  <a:pt x="51" y="159"/>
                  <a:pt x="51" y="159"/>
                </a:cubicBezTo>
                <a:cubicBezTo>
                  <a:pt x="51" y="158"/>
                  <a:pt x="51" y="158"/>
                  <a:pt x="51" y="158"/>
                </a:cubicBezTo>
                <a:lnTo>
                  <a:pt x="52" y="158"/>
                </a:lnTo>
                <a:close/>
                <a:moveTo>
                  <a:pt x="53" y="165"/>
                </a:moveTo>
                <a:cubicBezTo>
                  <a:pt x="56" y="168"/>
                  <a:pt x="56" y="168"/>
                  <a:pt x="56" y="168"/>
                </a:cubicBezTo>
                <a:cubicBezTo>
                  <a:pt x="55" y="168"/>
                  <a:pt x="55" y="168"/>
                  <a:pt x="55" y="168"/>
                </a:cubicBezTo>
                <a:cubicBezTo>
                  <a:pt x="51" y="168"/>
                  <a:pt x="51" y="168"/>
                  <a:pt x="51" y="168"/>
                </a:cubicBezTo>
                <a:cubicBezTo>
                  <a:pt x="50" y="168"/>
                  <a:pt x="50" y="168"/>
                  <a:pt x="50" y="168"/>
                </a:cubicBezTo>
                <a:cubicBezTo>
                  <a:pt x="51" y="168"/>
                  <a:pt x="51" y="168"/>
                  <a:pt x="51" y="168"/>
                </a:cubicBezTo>
                <a:cubicBezTo>
                  <a:pt x="52" y="166"/>
                  <a:pt x="52" y="166"/>
                  <a:pt x="52" y="166"/>
                </a:cubicBezTo>
                <a:lnTo>
                  <a:pt x="53" y="165"/>
                </a:lnTo>
                <a:close/>
                <a:moveTo>
                  <a:pt x="51" y="170"/>
                </a:moveTo>
                <a:cubicBezTo>
                  <a:pt x="53" y="170"/>
                  <a:pt x="53" y="170"/>
                  <a:pt x="53" y="170"/>
                </a:cubicBezTo>
                <a:cubicBezTo>
                  <a:pt x="56" y="170"/>
                  <a:pt x="56" y="170"/>
                  <a:pt x="56" y="170"/>
                </a:cubicBezTo>
                <a:cubicBezTo>
                  <a:pt x="55" y="171"/>
                  <a:pt x="55" y="171"/>
                  <a:pt x="55" y="171"/>
                </a:cubicBezTo>
                <a:cubicBezTo>
                  <a:pt x="54" y="173"/>
                  <a:pt x="54" y="173"/>
                  <a:pt x="54" y="173"/>
                </a:cubicBezTo>
                <a:cubicBezTo>
                  <a:pt x="53" y="173"/>
                  <a:pt x="53" y="173"/>
                  <a:pt x="53" y="173"/>
                </a:cubicBezTo>
                <a:cubicBezTo>
                  <a:pt x="50" y="170"/>
                  <a:pt x="50" y="170"/>
                  <a:pt x="50" y="170"/>
                </a:cubicBezTo>
                <a:lnTo>
                  <a:pt x="51" y="170"/>
                </a:lnTo>
                <a:close/>
                <a:moveTo>
                  <a:pt x="56" y="180"/>
                </a:moveTo>
                <a:cubicBezTo>
                  <a:pt x="54" y="180"/>
                  <a:pt x="54" y="180"/>
                  <a:pt x="54" y="180"/>
                </a:cubicBezTo>
                <a:cubicBezTo>
                  <a:pt x="52" y="180"/>
                  <a:pt x="52" y="180"/>
                  <a:pt x="52" y="180"/>
                </a:cubicBezTo>
                <a:cubicBezTo>
                  <a:pt x="50" y="180"/>
                  <a:pt x="50" y="180"/>
                  <a:pt x="50" y="180"/>
                </a:cubicBezTo>
                <a:cubicBezTo>
                  <a:pt x="51" y="179"/>
                  <a:pt x="51" y="179"/>
                  <a:pt x="51" y="179"/>
                </a:cubicBezTo>
                <a:cubicBezTo>
                  <a:pt x="52" y="178"/>
                  <a:pt x="52" y="178"/>
                  <a:pt x="52" y="178"/>
                </a:cubicBezTo>
                <a:cubicBezTo>
                  <a:pt x="53" y="176"/>
                  <a:pt x="53" y="176"/>
                  <a:pt x="53" y="176"/>
                </a:cubicBezTo>
                <a:lnTo>
                  <a:pt x="56" y="180"/>
                </a:lnTo>
                <a:close/>
                <a:moveTo>
                  <a:pt x="50" y="182"/>
                </a:moveTo>
                <a:cubicBezTo>
                  <a:pt x="54" y="182"/>
                  <a:pt x="54" y="182"/>
                  <a:pt x="54" y="182"/>
                </a:cubicBezTo>
                <a:cubicBezTo>
                  <a:pt x="56" y="182"/>
                  <a:pt x="56" y="182"/>
                  <a:pt x="56" y="182"/>
                </a:cubicBezTo>
                <a:cubicBezTo>
                  <a:pt x="55" y="183"/>
                  <a:pt x="55" y="183"/>
                  <a:pt x="55" y="183"/>
                </a:cubicBezTo>
                <a:cubicBezTo>
                  <a:pt x="53" y="185"/>
                  <a:pt x="53" y="185"/>
                  <a:pt x="53" y="185"/>
                </a:cubicBezTo>
                <a:cubicBezTo>
                  <a:pt x="53" y="185"/>
                  <a:pt x="53" y="185"/>
                  <a:pt x="53" y="185"/>
                </a:cubicBezTo>
                <a:cubicBezTo>
                  <a:pt x="50" y="182"/>
                  <a:pt x="50" y="182"/>
                  <a:pt x="50" y="182"/>
                </a:cubicBezTo>
                <a:close/>
                <a:moveTo>
                  <a:pt x="56" y="190"/>
                </a:moveTo>
                <a:cubicBezTo>
                  <a:pt x="53" y="190"/>
                  <a:pt x="53" y="190"/>
                  <a:pt x="53" y="190"/>
                </a:cubicBezTo>
                <a:cubicBezTo>
                  <a:pt x="50" y="191"/>
                  <a:pt x="50" y="191"/>
                  <a:pt x="50" y="191"/>
                </a:cubicBezTo>
                <a:cubicBezTo>
                  <a:pt x="49" y="191"/>
                  <a:pt x="49" y="191"/>
                  <a:pt x="49" y="191"/>
                </a:cubicBezTo>
                <a:cubicBezTo>
                  <a:pt x="50" y="190"/>
                  <a:pt x="50" y="190"/>
                  <a:pt x="50" y="190"/>
                </a:cubicBezTo>
                <a:cubicBezTo>
                  <a:pt x="51" y="189"/>
                  <a:pt x="51" y="189"/>
                  <a:pt x="51" y="189"/>
                </a:cubicBezTo>
                <a:cubicBezTo>
                  <a:pt x="53" y="187"/>
                  <a:pt x="53" y="187"/>
                  <a:pt x="53" y="187"/>
                </a:cubicBezTo>
                <a:lnTo>
                  <a:pt x="56" y="190"/>
                </a:lnTo>
                <a:close/>
                <a:moveTo>
                  <a:pt x="52" y="192"/>
                </a:moveTo>
                <a:cubicBezTo>
                  <a:pt x="55" y="192"/>
                  <a:pt x="55" y="192"/>
                  <a:pt x="55" y="192"/>
                </a:cubicBezTo>
                <a:cubicBezTo>
                  <a:pt x="56" y="192"/>
                  <a:pt x="56" y="192"/>
                  <a:pt x="56" y="192"/>
                </a:cubicBezTo>
                <a:cubicBezTo>
                  <a:pt x="55" y="193"/>
                  <a:pt x="55" y="193"/>
                  <a:pt x="55" y="193"/>
                </a:cubicBezTo>
                <a:cubicBezTo>
                  <a:pt x="54" y="194"/>
                  <a:pt x="54" y="194"/>
                  <a:pt x="54" y="194"/>
                </a:cubicBezTo>
                <a:cubicBezTo>
                  <a:pt x="52" y="196"/>
                  <a:pt x="52" y="196"/>
                  <a:pt x="52" y="196"/>
                </a:cubicBezTo>
                <a:cubicBezTo>
                  <a:pt x="49" y="192"/>
                  <a:pt x="49" y="192"/>
                  <a:pt x="49" y="192"/>
                </a:cubicBezTo>
                <a:lnTo>
                  <a:pt x="52" y="192"/>
                </a:lnTo>
                <a:close/>
                <a:moveTo>
                  <a:pt x="56" y="202"/>
                </a:moveTo>
                <a:cubicBezTo>
                  <a:pt x="52" y="202"/>
                  <a:pt x="52" y="202"/>
                  <a:pt x="52" y="202"/>
                </a:cubicBezTo>
                <a:cubicBezTo>
                  <a:pt x="48" y="202"/>
                  <a:pt x="48" y="202"/>
                  <a:pt x="48" y="202"/>
                </a:cubicBezTo>
                <a:cubicBezTo>
                  <a:pt x="50" y="200"/>
                  <a:pt x="50" y="200"/>
                  <a:pt x="50" y="200"/>
                </a:cubicBezTo>
                <a:cubicBezTo>
                  <a:pt x="52" y="198"/>
                  <a:pt x="52" y="198"/>
                  <a:pt x="52" y="198"/>
                </a:cubicBezTo>
                <a:lnTo>
                  <a:pt x="56" y="202"/>
                </a:lnTo>
                <a:close/>
                <a:moveTo>
                  <a:pt x="49" y="204"/>
                </a:moveTo>
                <a:cubicBezTo>
                  <a:pt x="54" y="203"/>
                  <a:pt x="54" y="203"/>
                  <a:pt x="54" y="203"/>
                </a:cubicBezTo>
                <a:cubicBezTo>
                  <a:pt x="56" y="203"/>
                  <a:pt x="56" y="203"/>
                  <a:pt x="56" y="203"/>
                </a:cubicBezTo>
                <a:cubicBezTo>
                  <a:pt x="55" y="204"/>
                  <a:pt x="55" y="204"/>
                  <a:pt x="55" y="204"/>
                </a:cubicBezTo>
                <a:cubicBezTo>
                  <a:pt x="52" y="207"/>
                  <a:pt x="52" y="207"/>
                  <a:pt x="52" y="207"/>
                </a:cubicBezTo>
                <a:cubicBezTo>
                  <a:pt x="52" y="208"/>
                  <a:pt x="52" y="208"/>
                  <a:pt x="52" y="208"/>
                </a:cubicBezTo>
                <a:cubicBezTo>
                  <a:pt x="48" y="204"/>
                  <a:pt x="48" y="204"/>
                  <a:pt x="48" y="204"/>
                </a:cubicBezTo>
                <a:lnTo>
                  <a:pt x="49" y="204"/>
                </a:lnTo>
                <a:close/>
                <a:moveTo>
                  <a:pt x="56" y="216"/>
                </a:moveTo>
                <a:cubicBezTo>
                  <a:pt x="53" y="216"/>
                  <a:pt x="53" y="216"/>
                  <a:pt x="53" y="216"/>
                </a:cubicBezTo>
                <a:cubicBezTo>
                  <a:pt x="47" y="216"/>
                  <a:pt x="47" y="216"/>
                  <a:pt x="47" y="216"/>
                </a:cubicBezTo>
                <a:cubicBezTo>
                  <a:pt x="50" y="213"/>
                  <a:pt x="50" y="213"/>
                  <a:pt x="50" y="213"/>
                </a:cubicBezTo>
                <a:cubicBezTo>
                  <a:pt x="52" y="211"/>
                  <a:pt x="52" y="211"/>
                  <a:pt x="52" y="211"/>
                </a:cubicBezTo>
                <a:lnTo>
                  <a:pt x="56" y="216"/>
                </a:lnTo>
                <a:close/>
                <a:moveTo>
                  <a:pt x="55" y="218"/>
                </a:moveTo>
                <a:cubicBezTo>
                  <a:pt x="55" y="218"/>
                  <a:pt x="55" y="218"/>
                  <a:pt x="55" y="218"/>
                </a:cubicBezTo>
                <a:cubicBezTo>
                  <a:pt x="55" y="218"/>
                  <a:pt x="55" y="218"/>
                  <a:pt x="55" y="218"/>
                </a:cubicBezTo>
                <a:cubicBezTo>
                  <a:pt x="51" y="223"/>
                  <a:pt x="51" y="223"/>
                  <a:pt x="51" y="223"/>
                </a:cubicBezTo>
                <a:cubicBezTo>
                  <a:pt x="47" y="218"/>
                  <a:pt x="47" y="218"/>
                  <a:pt x="47" y="218"/>
                </a:cubicBezTo>
                <a:lnTo>
                  <a:pt x="55" y="218"/>
                </a:lnTo>
                <a:close/>
                <a:moveTo>
                  <a:pt x="55" y="231"/>
                </a:moveTo>
                <a:cubicBezTo>
                  <a:pt x="52" y="231"/>
                  <a:pt x="52" y="231"/>
                  <a:pt x="52" y="231"/>
                </a:cubicBezTo>
                <a:cubicBezTo>
                  <a:pt x="46" y="231"/>
                  <a:pt x="46" y="231"/>
                  <a:pt x="46" y="231"/>
                </a:cubicBezTo>
                <a:cubicBezTo>
                  <a:pt x="45" y="231"/>
                  <a:pt x="45" y="231"/>
                  <a:pt x="45" y="231"/>
                </a:cubicBezTo>
                <a:cubicBezTo>
                  <a:pt x="45" y="231"/>
                  <a:pt x="45" y="231"/>
                  <a:pt x="45" y="231"/>
                </a:cubicBezTo>
                <a:cubicBezTo>
                  <a:pt x="49" y="228"/>
                  <a:pt x="49" y="228"/>
                  <a:pt x="49" y="228"/>
                </a:cubicBezTo>
                <a:cubicBezTo>
                  <a:pt x="51" y="226"/>
                  <a:pt x="51" y="226"/>
                  <a:pt x="51" y="226"/>
                </a:cubicBezTo>
                <a:lnTo>
                  <a:pt x="55" y="231"/>
                </a:lnTo>
                <a:close/>
                <a:moveTo>
                  <a:pt x="48" y="233"/>
                </a:moveTo>
                <a:cubicBezTo>
                  <a:pt x="54" y="233"/>
                  <a:pt x="54" y="233"/>
                  <a:pt x="54" y="233"/>
                </a:cubicBezTo>
                <a:cubicBezTo>
                  <a:pt x="55" y="233"/>
                  <a:pt x="55" y="233"/>
                  <a:pt x="55" y="233"/>
                </a:cubicBezTo>
                <a:cubicBezTo>
                  <a:pt x="55" y="233"/>
                  <a:pt x="55" y="233"/>
                  <a:pt x="55" y="233"/>
                </a:cubicBezTo>
                <a:cubicBezTo>
                  <a:pt x="51" y="237"/>
                  <a:pt x="51" y="237"/>
                  <a:pt x="51" y="237"/>
                </a:cubicBezTo>
                <a:cubicBezTo>
                  <a:pt x="50" y="238"/>
                  <a:pt x="50" y="238"/>
                  <a:pt x="50" y="238"/>
                </a:cubicBezTo>
                <a:cubicBezTo>
                  <a:pt x="50" y="239"/>
                  <a:pt x="50" y="239"/>
                  <a:pt x="50" y="239"/>
                </a:cubicBezTo>
                <a:cubicBezTo>
                  <a:pt x="46" y="234"/>
                  <a:pt x="46" y="234"/>
                  <a:pt x="46" y="234"/>
                </a:cubicBezTo>
                <a:cubicBezTo>
                  <a:pt x="45" y="233"/>
                  <a:pt x="45" y="233"/>
                  <a:pt x="45" y="233"/>
                </a:cubicBezTo>
                <a:lnTo>
                  <a:pt x="48" y="233"/>
                </a:lnTo>
                <a:close/>
                <a:moveTo>
                  <a:pt x="55" y="248"/>
                </a:moveTo>
                <a:cubicBezTo>
                  <a:pt x="51" y="248"/>
                  <a:pt x="51" y="248"/>
                  <a:pt x="51" y="248"/>
                </a:cubicBezTo>
                <a:cubicBezTo>
                  <a:pt x="44" y="248"/>
                  <a:pt x="44" y="248"/>
                  <a:pt x="44" y="248"/>
                </a:cubicBezTo>
                <a:cubicBezTo>
                  <a:pt x="43" y="248"/>
                  <a:pt x="43" y="248"/>
                  <a:pt x="43" y="248"/>
                </a:cubicBezTo>
                <a:cubicBezTo>
                  <a:pt x="44" y="248"/>
                  <a:pt x="44" y="248"/>
                  <a:pt x="44" y="248"/>
                </a:cubicBezTo>
                <a:cubicBezTo>
                  <a:pt x="47" y="244"/>
                  <a:pt x="47" y="244"/>
                  <a:pt x="47" y="244"/>
                </a:cubicBezTo>
                <a:cubicBezTo>
                  <a:pt x="50" y="241"/>
                  <a:pt x="50" y="241"/>
                  <a:pt x="50" y="241"/>
                </a:cubicBezTo>
                <a:lnTo>
                  <a:pt x="55" y="248"/>
                </a:lnTo>
                <a:close/>
                <a:moveTo>
                  <a:pt x="46" y="250"/>
                </a:moveTo>
                <a:cubicBezTo>
                  <a:pt x="53" y="250"/>
                  <a:pt x="53" y="250"/>
                  <a:pt x="53" y="250"/>
                </a:cubicBezTo>
                <a:cubicBezTo>
                  <a:pt x="54" y="250"/>
                  <a:pt x="54" y="250"/>
                  <a:pt x="54" y="250"/>
                </a:cubicBezTo>
                <a:cubicBezTo>
                  <a:pt x="54" y="250"/>
                  <a:pt x="54" y="250"/>
                  <a:pt x="54" y="250"/>
                </a:cubicBezTo>
                <a:cubicBezTo>
                  <a:pt x="50" y="253"/>
                  <a:pt x="50" y="253"/>
                  <a:pt x="50" y="253"/>
                </a:cubicBezTo>
                <a:cubicBezTo>
                  <a:pt x="48" y="255"/>
                  <a:pt x="48" y="255"/>
                  <a:pt x="48" y="255"/>
                </a:cubicBezTo>
                <a:cubicBezTo>
                  <a:pt x="43" y="250"/>
                  <a:pt x="43" y="250"/>
                  <a:pt x="43" y="250"/>
                </a:cubicBezTo>
                <a:lnTo>
                  <a:pt x="46" y="250"/>
                </a:lnTo>
                <a:close/>
                <a:moveTo>
                  <a:pt x="48" y="257"/>
                </a:moveTo>
                <a:cubicBezTo>
                  <a:pt x="48" y="257"/>
                  <a:pt x="48" y="257"/>
                  <a:pt x="48" y="257"/>
                </a:cubicBezTo>
                <a:cubicBezTo>
                  <a:pt x="51" y="260"/>
                  <a:pt x="51" y="260"/>
                  <a:pt x="51" y="260"/>
                </a:cubicBezTo>
                <a:cubicBezTo>
                  <a:pt x="52" y="261"/>
                  <a:pt x="52" y="261"/>
                  <a:pt x="52" y="261"/>
                </a:cubicBezTo>
                <a:cubicBezTo>
                  <a:pt x="50" y="261"/>
                  <a:pt x="50" y="261"/>
                  <a:pt x="50" y="261"/>
                </a:cubicBezTo>
                <a:cubicBezTo>
                  <a:pt x="49" y="261"/>
                  <a:pt x="49" y="261"/>
                  <a:pt x="49" y="261"/>
                </a:cubicBezTo>
                <a:cubicBezTo>
                  <a:pt x="48" y="261"/>
                  <a:pt x="48" y="261"/>
                  <a:pt x="48" y="261"/>
                </a:cubicBezTo>
                <a:cubicBezTo>
                  <a:pt x="48" y="261"/>
                  <a:pt x="48" y="261"/>
                  <a:pt x="48" y="261"/>
                </a:cubicBezTo>
                <a:cubicBezTo>
                  <a:pt x="46" y="261"/>
                  <a:pt x="46" y="261"/>
                  <a:pt x="46" y="261"/>
                </a:cubicBezTo>
                <a:cubicBezTo>
                  <a:pt x="44" y="261"/>
                  <a:pt x="44" y="261"/>
                  <a:pt x="44" y="261"/>
                </a:cubicBezTo>
                <a:cubicBezTo>
                  <a:pt x="45" y="260"/>
                  <a:pt x="45" y="260"/>
                  <a:pt x="45" y="260"/>
                </a:cubicBezTo>
                <a:cubicBezTo>
                  <a:pt x="46" y="259"/>
                  <a:pt x="46" y="259"/>
                  <a:pt x="46" y="259"/>
                </a:cubicBezTo>
                <a:cubicBezTo>
                  <a:pt x="46" y="259"/>
                  <a:pt x="46" y="259"/>
                  <a:pt x="46" y="259"/>
                </a:cubicBezTo>
                <a:cubicBezTo>
                  <a:pt x="46" y="259"/>
                  <a:pt x="46" y="259"/>
                  <a:pt x="46" y="259"/>
                </a:cubicBezTo>
                <a:cubicBezTo>
                  <a:pt x="47" y="258"/>
                  <a:pt x="47" y="258"/>
                  <a:pt x="47" y="258"/>
                </a:cubicBezTo>
                <a:lnTo>
                  <a:pt x="48" y="257"/>
                </a:lnTo>
                <a:close/>
                <a:moveTo>
                  <a:pt x="50" y="256"/>
                </a:moveTo>
                <a:cubicBezTo>
                  <a:pt x="51" y="255"/>
                  <a:pt x="51" y="255"/>
                  <a:pt x="51" y="255"/>
                </a:cubicBezTo>
                <a:cubicBezTo>
                  <a:pt x="55" y="251"/>
                  <a:pt x="55" y="251"/>
                  <a:pt x="55" y="251"/>
                </a:cubicBezTo>
                <a:cubicBezTo>
                  <a:pt x="56" y="251"/>
                  <a:pt x="56" y="251"/>
                  <a:pt x="56" y="251"/>
                </a:cubicBezTo>
                <a:cubicBezTo>
                  <a:pt x="56" y="252"/>
                  <a:pt x="56" y="252"/>
                  <a:pt x="56" y="252"/>
                </a:cubicBezTo>
                <a:cubicBezTo>
                  <a:pt x="55" y="254"/>
                  <a:pt x="55" y="256"/>
                  <a:pt x="55" y="258"/>
                </a:cubicBezTo>
                <a:cubicBezTo>
                  <a:pt x="55" y="261"/>
                  <a:pt x="55" y="261"/>
                  <a:pt x="55" y="261"/>
                </a:cubicBezTo>
                <a:cubicBezTo>
                  <a:pt x="54" y="261"/>
                  <a:pt x="54" y="261"/>
                  <a:pt x="54" y="261"/>
                </a:cubicBezTo>
                <a:lnTo>
                  <a:pt x="50" y="256"/>
                </a:lnTo>
                <a:close/>
                <a:moveTo>
                  <a:pt x="93" y="341"/>
                </a:moveTo>
                <a:cubicBezTo>
                  <a:pt x="92" y="341"/>
                  <a:pt x="92" y="341"/>
                  <a:pt x="92" y="341"/>
                </a:cubicBezTo>
                <a:cubicBezTo>
                  <a:pt x="91" y="341"/>
                  <a:pt x="91" y="341"/>
                  <a:pt x="91" y="341"/>
                </a:cubicBezTo>
                <a:cubicBezTo>
                  <a:pt x="91" y="341"/>
                  <a:pt x="91" y="341"/>
                  <a:pt x="91" y="341"/>
                </a:cubicBezTo>
                <a:cubicBezTo>
                  <a:pt x="91" y="341"/>
                  <a:pt x="91" y="341"/>
                  <a:pt x="91" y="341"/>
                </a:cubicBezTo>
                <a:cubicBezTo>
                  <a:pt x="90" y="341"/>
                  <a:pt x="90" y="341"/>
                  <a:pt x="90" y="341"/>
                </a:cubicBezTo>
                <a:cubicBezTo>
                  <a:pt x="88" y="341"/>
                  <a:pt x="88" y="341"/>
                  <a:pt x="88" y="341"/>
                </a:cubicBezTo>
                <a:cubicBezTo>
                  <a:pt x="87" y="341"/>
                  <a:pt x="87" y="341"/>
                  <a:pt x="87" y="341"/>
                </a:cubicBezTo>
                <a:cubicBezTo>
                  <a:pt x="86" y="341"/>
                  <a:pt x="86" y="341"/>
                  <a:pt x="86" y="341"/>
                </a:cubicBezTo>
                <a:cubicBezTo>
                  <a:pt x="85" y="341"/>
                  <a:pt x="85" y="341"/>
                  <a:pt x="85" y="341"/>
                </a:cubicBezTo>
                <a:cubicBezTo>
                  <a:pt x="85" y="341"/>
                  <a:pt x="85" y="341"/>
                  <a:pt x="85" y="341"/>
                </a:cubicBezTo>
                <a:cubicBezTo>
                  <a:pt x="84" y="341"/>
                  <a:pt x="84" y="341"/>
                  <a:pt x="84" y="341"/>
                </a:cubicBezTo>
                <a:cubicBezTo>
                  <a:pt x="84" y="341"/>
                  <a:pt x="84" y="341"/>
                  <a:pt x="84" y="341"/>
                </a:cubicBezTo>
                <a:cubicBezTo>
                  <a:pt x="84" y="340"/>
                  <a:pt x="84" y="340"/>
                  <a:pt x="84" y="340"/>
                </a:cubicBezTo>
                <a:cubicBezTo>
                  <a:pt x="84" y="339"/>
                  <a:pt x="84" y="339"/>
                  <a:pt x="84" y="339"/>
                </a:cubicBezTo>
                <a:cubicBezTo>
                  <a:pt x="84" y="338"/>
                  <a:pt x="84" y="338"/>
                  <a:pt x="84" y="338"/>
                </a:cubicBezTo>
                <a:cubicBezTo>
                  <a:pt x="83" y="337"/>
                  <a:pt x="83" y="337"/>
                  <a:pt x="83" y="337"/>
                </a:cubicBezTo>
                <a:cubicBezTo>
                  <a:pt x="83" y="336"/>
                  <a:pt x="83" y="336"/>
                  <a:pt x="83" y="336"/>
                </a:cubicBezTo>
                <a:cubicBezTo>
                  <a:pt x="86" y="338"/>
                  <a:pt x="86" y="338"/>
                  <a:pt x="86" y="338"/>
                </a:cubicBezTo>
                <a:cubicBezTo>
                  <a:pt x="88" y="338"/>
                  <a:pt x="88" y="338"/>
                  <a:pt x="88" y="338"/>
                </a:cubicBezTo>
                <a:cubicBezTo>
                  <a:pt x="91" y="340"/>
                  <a:pt x="91" y="340"/>
                  <a:pt x="91" y="340"/>
                </a:cubicBezTo>
                <a:cubicBezTo>
                  <a:pt x="92" y="340"/>
                  <a:pt x="92" y="340"/>
                  <a:pt x="92" y="340"/>
                </a:cubicBezTo>
                <a:cubicBezTo>
                  <a:pt x="94" y="341"/>
                  <a:pt x="94" y="341"/>
                  <a:pt x="94" y="341"/>
                </a:cubicBezTo>
                <a:lnTo>
                  <a:pt x="93" y="341"/>
                </a:lnTo>
                <a:close/>
                <a:moveTo>
                  <a:pt x="93" y="371"/>
                </a:moveTo>
                <a:cubicBezTo>
                  <a:pt x="90" y="368"/>
                  <a:pt x="90" y="368"/>
                  <a:pt x="90" y="368"/>
                </a:cubicBezTo>
                <a:cubicBezTo>
                  <a:pt x="91" y="367"/>
                  <a:pt x="91" y="367"/>
                  <a:pt x="91" y="367"/>
                </a:cubicBezTo>
                <a:cubicBezTo>
                  <a:pt x="91" y="366"/>
                  <a:pt x="91" y="366"/>
                  <a:pt x="91" y="366"/>
                </a:cubicBezTo>
                <a:cubicBezTo>
                  <a:pt x="91" y="366"/>
                  <a:pt x="91" y="366"/>
                  <a:pt x="91" y="366"/>
                </a:cubicBezTo>
                <a:cubicBezTo>
                  <a:pt x="92" y="367"/>
                  <a:pt x="92" y="367"/>
                  <a:pt x="92" y="367"/>
                </a:cubicBezTo>
                <a:cubicBezTo>
                  <a:pt x="92" y="369"/>
                  <a:pt x="92" y="369"/>
                  <a:pt x="92" y="369"/>
                </a:cubicBezTo>
                <a:lnTo>
                  <a:pt x="93" y="371"/>
                </a:lnTo>
                <a:close/>
                <a:moveTo>
                  <a:pt x="90" y="361"/>
                </a:moveTo>
                <a:cubicBezTo>
                  <a:pt x="89" y="358"/>
                  <a:pt x="89" y="358"/>
                  <a:pt x="89" y="358"/>
                </a:cubicBezTo>
                <a:cubicBezTo>
                  <a:pt x="89" y="358"/>
                  <a:pt x="89" y="358"/>
                  <a:pt x="89" y="358"/>
                </a:cubicBezTo>
                <a:cubicBezTo>
                  <a:pt x="89" y="357"/>
                  <a:pt x="89" y="357"/>
                  <a:pt x="89" y="357"/>
                </a:cubicBezTo>
                <a:cubicBezTo>
                  <a:pt x="89" y="357"/>
                  <a:pt x="89" y="357"/>
                  <a:pt x="89" y="357"/>
                </a:cubicBezTo>
                <a:cubicBezTo>
                  <a:pt x="90" y="356"/>
                  <a:pt x="90" y="356"/>
                  <a:pt x="90" y="356"/>
                </a:cubicBezTo>
                <a:cubicBezTo>
                  <a:pt x="90" y="356"/>
                  <a:pt x="90" y="356"/>
                  <a:pt x="90" y="356"/>
                </a:cubicBezTo>
                <a:cubicBezTo>
                  <a:pt x="90" y="357"/>
                  <a:pt x="90" y="357"/>
                  <a:pt x="90" y="357"/>
                </a:cubicBezTo>
                <a:cubicBezTo>
                  <a:pt x="90" y="358"/>
                  <a:pt x="90" y="358"/>
                  <a:pt x="90" y="358"/>
                </a:cubicBezTo>
                <a:cubicBezTo>
                  <a:pt x="90" y="358"/>
                  <a:pt x="90" y="358"/>
                  <a:pt x="90" y="358"/>
                </a:cubicBezTo>
                <a:cubicBezTo>
                  <a:pt x="90" y="359"/>
                  <a:pt x="90" y="359"/>
                  <a:pt x="90" y="359"/>
                </a:cubicBezTo>
                <a:lnTo>
                  <a:pt x="90" y="361"/>
                </a:lnTo>
                <a:close/>
                <a:moveTo>
                  <a:pt x="85" y="360"/>
                </a:moveTo>
                <a:cubicBezTo>
                  <a:pt x="85" y="358"/>
                  <a:pt x="85" y="358"/>
                  <a:pt x="85" y="358"/>
                </a:cubicBezTo>
                <a:cubicBezTo>
                  <a:pt x="85" y="356"/>
                  <a:pt x="85" y="356"/>
                  <a:pt x="85" y="356"/>
                </a:cubicBezTo>
                <a:cubicBezTo>
                  <a:pt x="86" y="358"/>
                  <a:pt x="86" y="358"/>
                  <a:pt x="86" y="358"/>
                </a:cubicBezTo>
                <a:cubicBezTo>
                  <a:pt x="86" y="359"/>
                  <a:pt x="86" y="359"/>
                  <a:pt x="86" y="359"/>
                </a:cubicBezTo>
                <a:cubicBezTo>
                  <a:pt x="85" y="360"/>
                  <a:pt x="85" y="360"/>
                  <a:pt x="85" y="360"/>
                </a:cubicBezTo>
                <a:cubicBezTo>
                  <a:pt x="85" y="361"/>
                  <a:pt x="85" y="361"/>
                  <a:pt x="85" y="361"/>
                </a:cubicBezTo>
                <a:cubicBezTo>
                  <a:pt x="85" y="361"/>
                  <a:pt x="85" y="361"/>
                  <a:pt x="85" y="361"/>
                </a:cubicBezTo>
                <a:cubicBezTo>
                  <a:pt x="85" y="360"/>
                  <a:pt x="85" y="360"/>
                  <a:pt x="85" y="360"/>
                </a:cubicBezTo>
                <a:close/>
                <a:moveTo>
                  <a:pt x="81" y="354"/>
                </a:moveTo>
                <a:cubicBezTo>
                  <a:pt x="82" y="354"/>
                  <a:pt x="82" y="354"/>
                  <a:pt x="82" y="354"/>
                </a:cubicBezTo>
                <a:cubicBezTo>
                  <a:pt x="81" y="355"/>
                  <a:pt x="81" y="355"/>
                  <a:pt x="81" y="355"/>
                </a:cubicBezTo>
                <a:cubicBezTo>
                  <a:pt x="81" y="356"/>
                  <a:pt x="81" y="356"/>
                  <a:pt x="81" y="356"/>
                </a:cubicBezTo>
                <a:cubicBezTo>
                  <a:pt x="80" y="356"/>
                  <a:pt x="80" y="356"/>
                  <a:pt x="80" y="356"/>
                </a:cubicBezTo>
                <a:cubicBezTo>
                  <a:pt x="80" y="357"/>
                  <a:pt x="80" y="357"/>
                  <a:pt x="80" y="357"/>
                </a:cubicBezTo>
                <a:cubicBezTo>
                  <a:pt x="78" y="354"/>
                  <a:pt x="78" y="354"/>
                  <a:pt x="78" y="354"/>
                </a:cubicBezTo>
                <a:cubicBezTo>
                  <a:pt x="78" y="354"/>
                  <a:pt x="78" y="354"/>
                  <a:pt x="78" y="354"/>
                </a:cubicBezTo>
                <a:lnTo>
                  <a:pt x="81" y="354"/>
                </a:lnTo>
                <a:close/>
                <a:moveTo>
                  <a:pt x="78" y="352"/>
                </a:moveTo>
                <a:cubicBezTo>
                  <a:pt x="78" y="352"/>
                  <a:pt x="78" y="352"/>
                  <a:pt x="78" y="352"/>
                </a:cubicBezTo>
                <a:cubicBezTo>
                  <a:pt x="79" y="350"/>
                  <a:pt x="79" y="350"/>
                  <a:pt x="79" y="350"/>
                </a:cubicBezTo>
                <a:cubicBezTo>
                  <a:pt x="80" y="349"/>
                  <a:pt x="80" y="349"/>
                  <a:pt x="80" y="349"/>
                </a:cubicBezTo>
                <a:cubicBezTo>
                  <a:pt x="80" y="349"/>
                  <a:pt x="80" y="349"/>
                  <a:pt x="80" y="349"/>
                </a:cubicBezTo>
                <a:cubicBezTo>
                  <a:pt x="80" y="350"/>
                  <a:pt x="80" y="350"/>
                  <a:pt x="80" y="350"/>
                </a:cubicBezTo>
                <a:cubicBezTo>
                  <a:pt x="82" y="352"/>
                  <a:pt x="82" y="352"/>
                  <a:pt x="82" y="352"/>
                </a:cubicBezTo>
                <a:cubicBezTo>
                  <a:pt x="81" y="352"/>
                  <a:pt x="81" y="352"/>
                  <a:pt x="81" y="352"/>
                </a:cubicBezTo>
                <a:cubicBezTo>
                  <a:pt x="79" y="352"/>
                  <a:pt x="79" y="352"/>
                  <a:pt x="79" y="352"/>
                </a:cubicBezTo>
                <a:lnTo>
                  <a:pt x="78" y="352"/>
                </a:lnTo>
                <a:close/>
                <a:moveTo>
                  <a:pt x="80" y="365"/>
                </a:moveTo>
                <a:cubicBezTo>
                  <a:pt x="81" y="365"/>
                  <a:pt x="81" y="365"/>
                  <a:pt x="81" y="365"/>
                </a:cubicBezTo>
                <a:cubicBezTo>
                  <a:pt x="82" y="365"/>
                  <a:pt x="82" y="365"/>
                  <a:pt x="82" y="365"/>
                </a:cubicBezTo>
                <a:cubicBezTo>
                  <a:pt x="82" y="365"/>
                  <a:pt x="82" y="365"/>
                  <a:pt x="82" y="365"/>
                </a:cubicBezTo>
                <a:cubicBezTo>
                  <a:pt x="81" y="366"/>
                  <a:pt x="81" y="366"/>
                  <a:pt x="81" y="366"/>
                </a:cubicBezTo>
                <a:cubicBezTo>
                  <a:pt x="81" y="367"/>
                  <a:pt x="81" y="367"/>
                  <a:pt x="81" y="367"/>
                </a:cubicBezTo>
                <a:cubicBezTo>
                  <a:pt x="79" y="365"/>
                  <a:pt x="79" y="365"/>
                  <a:pt x="79" y="365"/>
                </a:cubicBezTo>
                <a:lnTo>
                  <a:pt x="80" y="365"/>
                </a:lnTo>
                <a:close/>
                <a:moveTo>
                  <a:pt x="81" y="358"/>
                </a:moveTo>
                <a:cubicBezTo>
                  <a:pt x="81" y="358"/>
                  <a:pt x="81" y="358"/>
                  <a:pt x="81" y="358"/>
                </a:cubicBezTo>
                <a:cubicBezTo>
                  <a:pt x="82" y="358"/>
                  <a:pt x="82" y="358"/>
                  <a:pt x="82" y="358"/>
                </a:cubicBezTo>
                <a:cubicBezTo>
                  <a:pt x="82" y="357"/>
                  <a:pt x="82" y="357"/>
                  <a:pt x="82" y="357"/>
                </a:cubicBezTo>
                <a:cubicBezTo>
                  <a:pt x="83" y="356"/>
                  <a:pt x="83" y="356"/>
                  <a:pt x="83" y="356"/>
                </a:cubicBezTo>
                <a:cubicBezTo>
                  <a:pt x="83" y="358"/>
                  <a:pt x="83" y="358"/>
                  <a:pt x="83" y="358"/>
                </a:cubicBezTo>
                <a:cubicBezTo>
                  <a:pt x="83" y="359"/>
                  <a:pt x="83" y="359"/>
                  <a:pt x="83" y="359"/>
                </a:cubicBezTo>
                <a:cubicBezTo>
                  <a:pt x="83" y="360"/>
                  <a:pt x="83" y="360"/>
                  <a:pt x="83" y="360"/>
                </a:cubicBezTo>
                <a:cubicBezTo>
                  <a:pt x="83" y="361"/>
                  <a:pt x="83" y="361"/>
                  <a:pt x="83" y="361"/>
                </a:cubicBezTo>
                <a:lnTo>
                  <a:pt x="81" y="358"/>
                </a:lnTo>
                <a:close/>
                <a:moveTo>
                  <a:pt x="82" y="333"/>
                </a:moveTo>
                <a:cubicBezTo>
                  <a:pt x="82" y="332"/>
                  <a:pt x="82" y="332"/>
                  <a:pt x="82" y="332"/>
                </a:cubicBezTo>
                <a:cubicBezTo>
                  <a:pt x="82" y="331"/>
                  <a:pt x="82" y="331"/>
                  <a:pt x="82" y="331"/>
                </a:cubicBezTo>
                <a:cubicBezTo>
                  <a:pt x="82" y="330"/>
                  <a:pt x="81" y="329"/>
                  <a:pt x="81" y="328"/>
                </a:cubicBezTo>
                <a:cubicBezTo>
                  <a:pt x="81" y="327"/>
                  <a:pt x="81" y="327"/>
                  <a:pt x="81" y="326"/>
                </a:cubicBezTo>
                <a:cubicBezTo>
                  <a:pt x="81" y="325"/>
                  <a:pt x="80" y="324"/>
                  <a:pt x="80" y="323"/>
                </a:cubicBezTo>
                <a:cubicBezTo>
                  <a:pt x="80" y="323"/>
                  <a:pt x="80" y="322"/>
                  <a:pt x="80" y="321"/>
                </a:cubicBezTo>
                <a:cubicBezTo>
                  <a:pt x="79" y="320"/>
                  <a:pt x="79" y="320"/>
                  <a:pt x="79" y="320"/>
                </a:cubicBezTo>
                <a:cubicBezTo>
                  <a:pt x="82" y="321"/>
                  <a:pt x="82" y="321"/>
                  <a:pt x="82" y="321"/>
                </a:cubicBezTo>
                <a:cubicBezTo>
                  <a:pt x="85" y="322"/>
                  <a:pt x="85" y="322"/>
                  <a:pt x="85" y="322"/>
                </a:cubicBezTo>
                <a:cubicBezTo>
                  <a:pt x="90" y="325"/>
                  <a:pt x="90" y="325"/>
                  <a:pt x="90" y="325"/>
                </a:cubicBezTo>
                <a:cubicBezTo>
                  <a:pt x="92" y="326"/>
                  <a:pt x="92" y="326"/>
                  <a:pt x="92" y="326"/>
                </a:cubicBezTo>
                <a:cubicBezTo>
                  <a:pt x="91" y="326"/>
                  <a:pt x="91" y="326"/>
                  <a:pt x="91" y="326"/>
                </a:cubicBezTo>
                <a:cubicBezTo>
                  <a:pt x="90" y="327"/>
                  <a:pt x="90" y="327"/>
                  <a:pt x="90" y="327"/>
                </a:cubicBezTo>
                <a:cubicBezTo>
                  <a:pt x="89" y="328"/>
                  <a:pt x="89" y="328"/>
                  <a:pt x="89" y="328"/>
                </a:cubicBezTo>
                <a:cubicBezTo>
                  <a:pt x="88" y="329"/>
                  <a:pt x="88" y="329"/>
                  <a:pt x="88" y="329"/>
                </a:cubicBezTo>
                <a:cubicBezTo>
                  <a:pt x="87" y="330"/>
                  <a:pt x="87" y="330"/>
                  <a:pt x="87" y="330"/>
                </a:cubicBezTo>
                <a:cubicBezTo>
                  <a:pt x="86" y="330"/>
                  <a:pt x="86" y="330"/>
                  <a:pt x="86" y="330"/>
                </a:cubicBezTo>
                <a:cubicBezTo>
                  <a:pt x="85" y="331"/>
                  <a:pt x="85" y="331"/>
                  <a:pt x="85" y="331"/>
                </a:cubicBezTo>
                <a:cubicBezTo>
                  <a:pt x="83" y="332"/>
                  <a:pt x="83" y="332"/>
                  <a:pt x="83" y="332"/>
                </a:cubicBezTo>
                <a:cubicBezTo>
                  <a:pt x="83" y="333"/>
                  <a:pt x="83" y="333"/>
                  <a:pt x="83" y="333"/>
                </a:cubicBezTo>
                <a:lnTo>
                  <a:pt x="82" y="333"/>
                </a:lnTo>
                <a:close/>
                <a:moveTo>
                  <a:pt x="94" y="325"/>
                </a:moveTo>
                <a:cubicBezTo>
                  <a:pt x="92" y="324"/>
                  <a:pt x="92" y="324"/>
                  <a:pt x="92" y="324"/>
                </a:cubicBezTo>
                <a:cubicBezTo>
                  <a:pt x="89" y="322"/>
                  <a:pt x="89" y="322"/>
                  <a:pt x="89" y="322"/>
                </a:cubicBezTo>
                <a:cubicBezTo>
                  <a:pt x="87" y="322"/>
                  <a:pt x="87" y="322"/>
                  <a:pt x="87" y="322"/>
                </a:cubicBezTo>
                <a:cubicBezTo>
                  <a:pt x="85" y="320"/>
                  <a:pt x="85" y="320"/>
                  <a:pt x="85" y="320"/>
                </a:cubicBezTo>
                <a:cubicBezTo>
                  <a:pt x="82" y="319"/>
                  <a:pt x="82" y="319"/>
                  <a:pt x="82" y="319"/>
                </a:cubicBezTo>
                <a:cubicBezTo>
                  <a:pt x="83" y="319"/>
                  <a:pt x="83" y="319"/>
                  <a:pt x="83" y="319"/>
                </a:cubicBezTo>
                <a:cubicBezTo>
                  <a:pt x="85" y="319"/>
                  <a:pt x="85" y="319"/>
                  <a:pt x="85" y="319"/>
                </a:cubicBezTo>
                <a:cubicBezTo>
                  <a:pt x="85" y="319"/>
                  <a:pt x="85" y="319"/>
                  <a:pt x="85" y="319"/>
                </a:cubicBezTo>
                <a:cubicBezTo>
                  <a:pt x="87" y="319"/>
                  <a:pt x="87" y="319"/>
                  <a:pt x="87" y="319"/>
                </a:cubicBezTo>
                <a:cubicBezTo>
                  <a:pt x="90" y="319"/>
                  <a:pt x="90" y="319"/>
                  <a:pt x="90" y="319"/>
                </a:cubicBezTo>
                <a:cubicBezTo>
                  <a:pt x="92" y="319"/>
                  <a:pt x="92" y="319"/>
                  <a:pt x="92" y="319"/>
                </a:cubicBezTo>
                <a:cubicBezTo>
                  <a:pt x="96" y="319"/>
                  <a:pt x="96" y="319"/>
                  <a:pt x="96" y="319"/>
                </a:cubicBezTo>
                <a:cubicBezTo>
                  <a:pt x="97" y="319"/>
                  <a:pt x="97" y="319"/>
                  <a:pt x="97" y="319"/>
                </a:cubicBezTo>
                <a:cubicBezTo>
                  <a:pt x="99" y="319"/>
                  <a:pt x="99" y="319"/>
                  <a:pt x="99" y="319"/>
                </a:cubicBezTo>
                <a:cubicBezTo>
                  <a:pt x="101" y="319"/>
                  <a:pt x="101" y="319"/>
                  <a:pt x="101" y="319"/>
                </a:cubicBezTo>
                <a:cubicBezTo>
                  <a:pt x="101" y="319"/>
                  <a:pt x="101" y="319"/>
                  <a:pt x="101" y="319"/>
                </a:cubicBezTo>
                <a:cubicBezTo>
                  <a:pt x="101" y="319"/>
                  <a:pt x="101" y="319"/>
                  <a:pt x="101" y="319"/>
                </a:cubicBezTo>
                <a:cubicBezTo>
                  <a:pt x="100" y="320"/>
                  <a:pt x="100" y="320"/>
                  <a:pt x="100" y="320"/>
                </a:cubicBezTo>
                <a:cubicBezTo>
                  <a:pt x="99" y="321"/>
                  <a:pt x="99" y="321"/>
                  <a:pt x="99" y="321"/>
                </a:cubicBezTo>
                <a:cubicBezTo>
                  <a:pt x="98" y="321"/>
                  <a:pt x="98" y="321"/>
                  <a:pt x="98" y="321"/>
                </a:cubicBezTo>
                <a:cubicBezTo>
                  <a:pt x="96" y="323"/>
                  <a:pt x="96" y="323"/>
                  <a:pt x="96" y="323"/>
                </a:cubicBezTo>
                <a:cubicBezTo>
                  <a:pt x="95" y="324"/>
                  <a:pt x="95" y="324"/>
                  <a:pt x="95" y="324"/>
                </a:cubicBezTo>
                <a:lnTo>
                  <a:pt x="94" y="325"/>
                </a:lnTo>
                <a:close/>
                <a:moveTo>
                  <a:pt x="99" y="317"/>
                </a:moveTo>
                <a:cubicBezTo>
                  <a:pt x="97" y="317"/>
                  <a:pt x="97" y="317"/>
                  <a:pt x="97" y="317"/>
                </a:cubicBezTo>
                <a:cubicBezTo>
                  <a:pt x="95" y="317"/>
                  <a:pt x="95" y="317"/>
                  <a:pt x="95" y="317"/>
                </a:cubicBezTo>
                <a:cubicBezTo>
                  <a:pt x="94" y="317"/>
                  <a:pt x="94" y="317"/>
                  <a:pt x="94" y="317"/>
                </a:cubicBezTo>
                <a:cubicBezTo>
                  <a:pt x="90" y="317"/>
                  <a:pt x="90" y="317"/>
                  <a:pt x="90" y="317"/>
                </a:cubicBezTo>
                <a:cubicBezTo>
                  <a:pt x="88" y="317"/>
                  <a:pt x="88" y="317"/>
                  <a:pt x="88" y="317"/>
                </a:cubicBezTo>
                <a:cubicBezTo>
                  <a:pt x="85" y="317"/>
                  <a:pt x="85" y="317"/>
                  <a:pt x="85" y="317"/>
                </a:cubicBezTo>
                <a:cubicBezTo>
                  <a:pt x="83" y="317"/>
                  <a:pt x="83" y="317"/>
                  <a:pt x="83" y="317"/>
                </a:cubicBezTo>
                <a:cubicBezTo>
                  <a:pt x="83" y="317"/>
                  <a:pt x="83" y="317"/>
                  <a:pt x="83" y="317"/>
                </a:cubicBezTo>
                <a:cubicBezTo>
                  <a:pt x="82" y="317"/>
                  <a:pt x="82" y="317"/>
                  <a:pt x="82" y="317"/>
                </a:cubicBezTo>
                <a:cubicBezTo>
                  <a:pt x="81" y="317"/>
                  <a:pt x="81" y="317"/>
                  <a:pt x="81" y="317"/>
                </a:cubicBezTo>
                <a:cubicBezTo>
                  <a:pt x="81" y="317"/>
                  <a:pt x="81" y="317"/>
                  <a:pt x="81" y="317"/>
                </a:cubicBezTo>
                <a:cubicBezTo>
                  <a:pt x="82" y="316"/>
                  <a:pt x="82" y="316"/>
                  <a:pt x="82" y="316"/>
                </a:cubicBezTo>
                <a:cubicBezTo>
                  <a:pt x="82" y="316"/>
                  <a:pt x="82" y="316"/>
                  <a:pt x="82" y="316"/>
                </a:cubicBezTo>
                <a:cubicBezTo>
                  <a:pt x="83" y="315"/>
                  <a:pt x="83" y="315"/>
                  <a:pt x="83" y="315"/>
                </a:cubicBezTo>
                <a:cubicBezTo>
                  <a:pt x="84" y="314"/>
                  <a:pt x="84" y="314"/>
                  <a:pt x="84" y="314"/>
                </a:cubicBezTo>
                <a:cubicBezTo>
                  <a:pt x="85" y="313"/>
                  <a:pt x="85" y="313"/>
                  <a:pt x="85" y="313"/>
                </a:cubicBezTo>
                <a:cubicBezTo>
                  <a:pt x="87" y="311"/>
                  <a:pt x="87" y="311"/>
                  <a:pt x="87" y="311"/>
                </a:cubicBezTo>
                <a:cubicBezTo>
                  <a:pt x="88" y="311"/>
                  <a:pt x="88" y="311"/>
                  <a:pt x="88" y="311"/>
                </a:cubicBezTo>
                <a:cubicBezTo>
                  <a:pt x="89" y="310"/>
                  <a:pt x="89" y="310"/>
                  <a:pt x="89" y="310"/>
                </a:cubicBezTo>
                <a:cubicBezTo>
                  <a:pt x="91" y="311"/>
                  <a:pt x="91" y="311"/>
                  <a:pt x="91" y="311"/>
                </a:cubicBezTo>
                <a:cubicBezTo>
                  <a:pt x="96" y="315"/>
                  <a:pt x="96" y="315"/>
                  <a:pt x="96" y="315"/>
                </a:cubicBezTo>
                <a:cubicBezTo>
                  <a:pt x="100" y="317"/>
                  <a:pt x="100" y="317"/>
                  <a:pt x="100" y="317"/>
                </a:cubicBezTo>
                <a:lnTo>
                  <a:pt x="99" y="317"/>
                </a:lnTo>
                <a:close/>
                <a:moveTo>
                  <a:pt x="89" y="308"/>
                </a:moveTo>
                <a:cubicBezTo>
                  <a:pt x="88" y="308"/>
                  <a:pt x="88" y="308"/>
                  <a:pt x="88" y="308"/>
                </a:cubicBezTo>
                <a:cubicBezTo>
                  <a:pt x="84" y="305"/>
                  <a:pt x="84" y="305"/>
                  <a:pt x="84" y="305"/>
                </a:cubicBezTo>
                <a:cubicBezTo>
                  <a:pt x="79" y="302"/>
                  <a:pt x="79" y="302"/>
                  <a:pt x="79" y="302"/>
                </a:cubicBezTo>
                <a:cubicBezTo>
                  <a:pt x="79" y="302"/>
                  <a:pt x="79" y="302"/>
                  <a:pt x="79" y="302"/>
                </a:cubicBezTo>
                <a:cubicBezTo>
                  <a:pt x="79" y="302"/>
                  <a:pt x="79" y="302"/>
                  <a:pt x="79" y="302"/>
                </a:cubicBezTo>
                <a:cubicBezTo>
                  <a:pt x="81" y="302"/>
                  <a:pt x="81" y="302"/>
                  <a:pt x="81" y="302"/>
                </a:cubicBezTo>
                <a:cubicBezTo>
                  <a:pt x="83" y="302"/>
                  <a:pt x="83" y="302"/>
                  <a:pt x="83" y="302"/>
                </a:cubicBezTo>
                <a:cubicBezTo>
                  <a:pt x="85" y="302"/>
                  <a:pt x="85" y="302"/>
                  <a:pt x="85" y="302"/>
                </a:cubicBezTo>
                <a:cubicBezTo>
                  <a:pt x="88" y="302"/>
                  <a:pt x="88" y="302"/>
                  <a:pt x="88" y="302"/>
                </a:cubicBezTo>
                <a:cubicBezTo>
                  <a:pt x="91" y="302"/>
                  <a:pt x="91" y="302"/>
                  <a:pt x="91" y="302"/>
                </a:cubicBezTo>
                <a:cubicBezTo>
                  <a:pt x="92" y="302"/>
                  <a:pt x="92" y="302"/>
                  <a:pt x="92" y="302"/>
                </a:cubicBezTo>
                <a:cubicBezTo>
                  <a:pt x="92" y="302"/>
                  <a:pt x="92" y="302"/>
                  <a:pt x="92" y="302"/>
                </a:cubicBezTo>
                <a:cubicBezTo>
                  <a:pt x="93" y="302"/>
                  <a:pt x="93" y="302"/>
                  <a:pt x="93" y="302"/>
                </a:cubicBezTo>
                <a:cubicBezTo>
                  <a:pt x="94" y="302"/>
                  <a:pt x="94" y="302"/>
                  <a:pt x="94" y="302"/>
                </a:cubicBezTo>
                <a:cubicBezTo>
                  <a:pt x="95" y="302"/>
                  <a:pt x="95" y="302"/>
                  <a:pt x="95" y="302"/>
                </a:cubicBezTo>
                <a:cubicBezTo>
                  <a:pt x="94" y="302"/>
                  <a:pt x="94" y="302"/>
                  <a:pt x="94" y="302"/>
                </a:cubicBezTo>
                <a:cubicBezTo>
                  <a:pt x="94" y="303"/>
                  <a:pt x="94" y="303"/>
                  <a:pt x="94" y="303"/>
                </a:cubicBezTo>
                <a:cubicBezTo>
                  <a:pt x="94" y="303"/>
                  <a:pt x="94" y="303"/>
                  <a:pt x="94" y="303"/>
                </a:cubicBezTo>
                <a:cubicBezTo>
                  <a:pt x="94" y="303"/>
                  <a:pt x="94" y="303"/>
                  <a:pt x="94" y="303"/>
                </a:cubicBezTo>
                <a:cubicBezTo>
                  <a:pt x="93" y="304"/>
                  <a:pt x="93" y="304"/>
                  <a:pt x="93" y="304"/>
                </a:cubicBezTo>
                <a:cubicBezTo>
                  <a:pt x="91" y="305"/>
                  <a:pt x="91" y="305"/>
                  <a:pt x="91" y="305"/>
                </a:cubicBezTo>
                <a:cubicBezTo>
                  <a:pt x="90" y="307"/>
                  <a:pt x="90" y="307"/>
                  <a:pt x="90" y="307"/>
                </a:cubicBezTo>
                <a:lnTo>
                  <a:pt x="89" y="308"/>
                </a:lnTo>
                <a:close/>
                <a:moveTo>
                  <a:pt x="76" y="296"/>
                </a:moveTo>
                <a:cubicBezTo>
                  <a:pt x="75" y="295"/>
                  <a:pt x="75" y="295"/>
                  <a:pt x="75" y="295"/>
                </a:cubicBezTo>
                <a:cubicBezTo>
                  <a:pt x="75" y="293"/>
                  <a:pt x="75" y="293"/>
                  <a:pt x="75" y="293"/>
                </a:cubicBezTo>
                <a:cubicBezTo>
                  <a:pt x="75" y="293"/>
                  <a:pt x="75" y="293"/>
                  <a:pt x="75" y="293"/>
                </a:cubicBezTo>
                <a:cubicBezTo>
                  <a:pt x="75" y="293"/>
                  <a:pt x="75" y="292"/>
                  <a:pt x="75" y="292"/>
                </a:cubicBezTo>
                <a:cubicBezTo>
                  <a:pt x="75" y="292"/>
                  <a:pt x="75" y="292"/>
                  <a:pt x="75" y="292"/>
                </a:cubicBezTo>
                <a:cubicBezTo>
                  <a:pt x="75" y="291"/>
                  <a:pt x="75" y="290"/>
                  <a:pt x="75" y="290"/>
                </a:cubicBezTo>
                <a:cubicBezTo>
                  <a:pt x="75" y="288"/>
                  <a:pt x="75" y="288"/>
                  <a:pt x="75" y="288"/>
                </a:cubicBezTo>
                <a:cubicBezTo>
                  <a:pt x="78" y="290"/>
                  <a:pt x="78" y="290"/>
                  <a:pt x="78" y="290"/>
                </a:cubicBezTo>
                <a:cubicBezTo>
                  <a:pt x="83" y="293"/>
                  <a:pt x="83" y="293"/>
                  <a:pt x="83" y="293"/>
                </a:cubicBezTo>
                <a:cubicBezTo>
                  <a:pt x="83" y="293"/>
                  <a:pt x="83" y="293"/>
                  <a:pt x="83" y="293"/>
                </a:cubicBezTo>
                <a:cubicBezTo>
                  <a:pt x="83" y="293"/>
                  <a:pt x="83" y="293"/>
                  <a:pt x="83" y="293"/>
                </a:cubicBezTo>
                <a:cubicBezTo>
                  <a:pt x="82" y="294"/>
                  <a:pt x="82" y="294"/>
                  <a:pt x="82" y="294"/>
                </a:cubicBezTo>
                <a:cubicBezTo>
                  <a:pt x="81" y="295"/>
                  <a:pt x="81" y="295"/>
                  <a:pt x="81" y="295"/>
                </a:cubicBezTo>
                <a:cubicBezTo>
                  <a:pt x="79" y="297"/>
                  <a:pt x="79" y="297"/>
                  <a:pt x="79" y="297"/>
                </a:cubicBezTo>
                <a:cubicBezTo>
                  <a:pt x="78" y="298"/>
                  <a:pt x="78" y="298"/>
                  <a:pt x="78" y="298"/>
                </a:cubicBezTo>
                <a:cubicBezTo>
                  <a:pt x="77" y="299"/>
                  <a:pt x="77" y="299"/>
                  <a:pt x="77" y="299"/>
                </a:cubicBezTo>
                <a:cubicBezTo>
                  <a:pt x="76" y="299"/>
                  <a:pt x="76" y="299"/>
                  <a:pt x="76" y="299"/>
                </a:cubicBezTo>
                <a:cubicBezTo>
                  <a:pt x="76" y="299"/>
                  <a:pt x="76" y="298"/>
                  <a:pt x="76" y="297"/>
                </a:cubicBezTo>
                <a:cubicBezTo>
                  <a:pt x="76" y="297"/>
                  <a:pt x="76" y="297"/>
                  <a:pt x="76" y="297"/>
                </a:cubicBezTo>
                <a:cubicBezTo>
                  <a:pt x="76" y="297"/>
                  <a:pt x="76" y="297"/>
                  <a:pt x="76" y="297"/>
                </a:cubicBezTo>
                <a:cubicBezTo>
                  <a:pt x="76" y="296"/>
                  <a:pt x="76" y="296"/>
                  <a:pt x="76" y="296"/>
                </a:cubicBezTo>
                <a:close/>
                <a:moveTo>
                  <a:pt x="74" y="358"/>
                </a:moveTo>
                <a:cubicBezTo>
                  <a:pt x="74" y="357"/>
                  <a:pt x="74" y="357"/>
                  <a:pt x="74" y="357"/>
                </a:cubicBezTo>
                <a:cubicBezTo>
                  <a:pt x="75" y="356"/>
                  <a:pt x="75" y="356"/>
                  <a:pt x="75" y="356"/>
                </a:cubicBezTo>
                <a:cubicBezTo>
                  <a:pt x="75" y="358"/>
                  <a:pt x="75" y="358"/>
                  <a:pt x="75" y="358"/>
                </a:cubicBezTo>
                <a:cubicBezTo>
                  <a:pt x="75" y="359"/>
                  <a:pt x="75" y="359"/>
                  <a:pt x="75" y="359"/>
                </a:cubicBezTo>
                <a:cubicBezTo>
                  <a:pt x="75" y="360"/>
                  <a:pt x="75" y="360"/>
                  <a:pt x="75" y="360"/>
                </a:cubicBezTo>
                <a:cubicBezTo>
                  <a:pt x="75" y="361"/>
                  <a:pt x="75" y="361"/>
                  <a:pt x="75" y="361"/>
                </a:cubicBezTo>
                <a:cubicBezTo>
                  <a:pt x="74" y="359"/>
                  <a:pt x="74" y="359"/>
                  <a:pt x="74" y="359"/>
                </a:cubicBezTo>
                <a:cubicBezTo>
                  <a:pt x="74" y="359"/>
                  <a:pt x="74" y="359"/>
                  <a:pt x="74" y="359"/>
                </a:cubicBezTo>
                <a:lnTo>
                  <a:pt x="74" y="358"/>
                </a:lnTo>
                <a:close/>
                <a:moveTo>
                  <a:pt x="73" y="348"/>
                </a:moveTo>
                <a:cubicBezTo>
                  <a:pt x="74" y="347"/>
                  <a:pt x="74" y="347"/>
                  <a:pt x="74" y="347"/>
                </a:cubicBezTo>
                <a:cubicBezTo>
                  <a:pt x="75" y="346"/>
                  <a:pt x="75" y="346"/>
                  <a:pt x="75" y="346"/>
                </a:cubicBezTo>
                <a:cubicBezTo>
                  <a:pt x="75" y="346"/>
                  <a:pt x="75" y="346"/>
                  <a:pt x="75" y="346"/>
                </a:cubicBezTo>
                <a:cubicBezTo>
                  <a:pt x="75" y="347"/>
                  <a:pt x="75" y="347"/>
                  <a:pt x="75" y="347"/>
                </a:cubicBezTo>
                <a:cubicBezTo>
                  <a:pt x="75" y="349"/>
                  <a:pt x="75" y="349"/>
                  <a:pt x="75" y="349"/>
                </a:cubicBezTo>
                <a:cubicBezTo>
                  <a:pt x="75" y="350"/>
                  <a:pt x="75" y="350"/>
                  <a:pt x="75" y="350"/>
                </a:cubicBezTo>
                <a:lnTo>
                  <a:pt x="73" y="348"/>
                </a:lnTo>
                <a:close/>
                <a:moveTo>
                  <a:pt x="85" y="292"/>
                </a:moveTo>
                <a:cubicBezTo>
                  <a:pt x="81" y="290"/>
                  <a:pt x="81" y="290"/>
                  <a:pt x="81" y="290"/>
                </a:cubicBezTo>
                <a:cubicBezTo>
                  <a:pt x="78" y="288"/>
                  <a:pt x="78" y="288"/>
                  <a:pt x="78" y="288"/>
                </a:cubicBezTo>
                <a:cubicBezTo>
                  <a:pt x="77" y="287"/>
                  <a:pt x="77" y="287"/>
                  <a:pt x="77" y="287"/>
                </a:cubicBezTo>
                <a:cubicBezTo>
                  <a:pt x="77" y="287"/>
                  <a:pt x="77" y="287"/>
                  <a:pt x="77" y="287"/>
                </a:cubicBezTo>
                <a:cubicBezTo>
                  <a:pt x="77" y="287"/>
                  <a:pt x="77" y="287"/>
                  <a:pt x="77" y="287"/>
                </a:cubicBezTo>
                <a:cubicBezTo>
                  <a:pt x="77" y="287"/>
                  <a:pt x="77" y="287"/>
                  <a:pt x="77" y="287"/>
                </a:cubicBezTo>
                <a:cubicBezTo>
                  <a:pt x="78" y="287"/>
                  <a:pt x="78" y="287"/>
                  <a:pt x="78" y="287"/>
                </a:cubicBezTo>
                <a:cubicBezTo>
                  <a:pt x="80" y="287"/>
                  <a:pt x="80" y="287"/>
                  <a:pt x="80" y="287"/>
                </a:cubicBezTo>
                <a:cubicBezTo>
                  <a:pt x="86" y="287"/>
                  <a:pt x="86" y="287"/>
                  <a:pt x="86" y="287"/>
                </a:cubicBezTo>
                <a:cubicBezTo>
                  <a:pt x="91" y="287"/>
                  <a:pt x="91" y="287"/>
                  <a:pt x="91" y="287"/>
                </a:cubicBezTo>
                <a:cubicBezTo>
                  <a:pt x="88" y="289"/>
                  <a:pt x="88" y="289"/>
                  <a:pt x="88" y="289"/>
                </a:cubicBezTo>
                <a:cubicBezTo>
                  <a:pt x="85" y="292"/>
                  <a:pt x="85" y="292"/>
                  <a:pt x="85" y="292"/>
                </a:cubicBezTo>
                <a:close/>
                <a:moveTo>
                  <a:pt x="84" y="285"/>
                </a:moveTo>
                <a:cubicBezTo>
                  <a:pt x="78" y="285"/>
                  <a:pt x="78" y="285"/>
                  <a:pt x="78" y="285"/>
                </a:cubicBezTo>
                <a:cubicBezTo>
                  <a:pt x="76" y="285"/>
                  <a:pt x="76" y="285"/>
                  <a:pt x="76" y="285"/>
                </a:cubicBezTo>
                <a:cubicBezTo>
                  <a:pt x="75" y="285"/>
                  <a:pt x="75" y="285"/>
                  <a:pt x="75" y="285"/>
                </a:cubicBezTo>
                <a:cubicBezTo>
                  <a:pt x="75" y="285"/>
                  <a:pt x="75" y="285"/>
                  <a:pt x="75" y="285"/>
                </a:cubicBezTo>
                <a:cubicBezTo>
                  <a:pt x="74" y="285"/>
                  <a:pt x="74" y="285"/>
                  <a:pt x="74" y="285"/>
                </a:cubicBezTo>
                <a:cubicBezTo>
                  <a:pt x="74" y="285"/>
                  <a:pt x="74" y="285"/>
                  <a:pt x="74" y="285"/>
                </a:cubicBezTo>
                <a:cubicBezTo>
                  <a:pt x="74" y="285"/>
                  <a:pt x="74" y="285"/>
                  <a:pt x="74" y="285"/>
                </a:cubicBezTo>
                <a:cubicBezTo>
                  <a:pt x="74" y="285"/>
                  <a:pt x="74" y="285"/>
                  <a:pt x="74" y="285"/>
                </a:cubicBezTo>
                <a:cubicBezTo>
                  <a:pt x="74" y="284"/>
                  <a:pt x="74" y="284"/>
                  <a:pt x="74" y="284"/>
                </a:cubicBezTo>
                <a:cubicBezTo>
                  <a:pt x="74" y="283"/>
                  <a:pt x="74" y="283"/>
                  <a:pt x="74" y="283"/>
                </a:cubicBezTo>
                <a:cubicBezTo>
                  <a:pt x="74" y="282"/>
                  <a:pt x="74" y="282"/>
                  <a:pt x="74" y="282"/>
                </a:cubicBezTo>
                <a:cubicBezTo>
                  <a:pt x="75" y="282"/>
                  <a:pt x="75" y="282"/>
                  <a:pt x="75" y="282"/>
                </a:cubicBezTo>
                <a:cubicBezTo>
                  <a:pt x="81" y="282"/>
                  <a:pt x="81" y="282"/>
                  <a:pt x="81" y="282"/>
                </a:cubicBezTo>
                <a:cubicBezTo>
                  <a:pt x="88" y="282"/>
                  <a:pt x="88" y="282"/>
                  <a:pt x="88" y="282"/>
                </a:cubicBezTo>
                <a:cubicBezTo>
                  <a:pt x="91" y="282"/>
                  <a:pt x="91" y="282"/>
                  <a:pt x="91" y="282"/>
                </a:cubicBezTo>
                <a:cubicBezTo>
                  <a:pt x="91" y="283"/>
                  <a:pt x="92" y="284"/>
                  <a:pt x="92" y="285"/>
                </a:cubicBezTo>
                <a:cubicBezTo>
                  <a:pt x="91" y="285"/>
                  <a:pt x="91" y="285"/>
                  <a:pt x="91" y="285"/>
                </a:cubicBezTo>
                <a:lnTo>
                  <a:pt x="84" y="285"/>
                </a:lnTo>
                <a:close/>
                <a:moveTo>
                  <a:pt x="75" y="280"/>
                </a:moveTo>
                <a:cubicBezTo>
                  <a:pt x="76" y="278"/>
                  <a:pt x="76" y="278"/>
                  <a:pt x="76" y="278"/>
                </a:cubicBezTo>
                <a:cubicBezTo>
                  <a:pt x="77" y="276"/>
                  <a:pt x="77" y="276"/>
                  <a:pt x="77" y="276"/>
                </a:cubicBezTo>
                <a:cubicBezTo>
                  <a:pt x="81" y="280"/>
                  <a:pt x="81" y="280"/>
                  <a:pt x="81" y="280"/>
                </a:cubicBezTo>
                <a:cubicBezTo>
                  <a:pt x="79" y="280"/>
                  <a:pt x="79" y="280"/>
                  <a:pt x="79" y="280"/>
                </a:cubicBezTo>
                <a:lnTo>
                  <a:pt x="75" y="280"/>
                </a:lnTo>
                <a:close/>
                <a:moveTo>
                  <a:pt x="86" y="280"/>
                </a:moveTo>
                <a:cubicBezTo>
                  <a:pt x="85" y="280"/>
                  <a:pt x="85" y="280"/>
                  <a:pt x="85" y="280"/>
                </a:cubicBezTo>
                <a:cubicBezTo>
                  <a:pt x="85" y="279"/>
                  <a:pt x="85" y="279"/>
                  <a:pt x="85" y="279"/>
                </a:cubicBezTo>
                <a:cubicBezTo>
                  <a:pt x="86" y="276"/>
                  <a:pt x="86" y="276"/>
                  <a:pt x="86" y="276"/>
                </a:cubicBezTo>
                <a:cubicBezTo>
                  <a:pt x="90" y="280"/>
                  <a:pt x="90" y="280"/>
                  <a:pt x="90" y="280"/>
                </a:cubicBezTo>
                <a:lnTo>
                  <a:pt x="86" y="280"/>
                </a:lnTo>
                <a:close/>
                <a:moveTo>
                  <a:pt x="86" y="273"/>
                </a:moveTo>
                <a:cubicBezTo>
                  <a:pt x="83" y="270"/>
                  <a:pt x="83" y="270"/>
                  <a:pt x="83" y="270"/>
                </a:cubicBezTo>
                <a:cubicBezTo>
                  <a:pt x="84" y="270"/>
                  <a:pt x="84" y="270"/>
                  <a:pt x="84" y="270"/>
                </a:cubicBezTo>
                <a:cubicBezTo>
                  <a:pt x="87" y="270"/>
                  <a:pt x="87" y="270"/>
                  <a:pt x="87" y="270"/>
                </a:cubicBezTo>
                <a:cubicBezTo>
                  <a:pt x="88" y="270"/>
                  <a:pt x="88" y="270"/>
                  <a:pt x="88" y="270"/>
                </a:cubicBezTo>
                <a:cubicBezTo>
                  <a:pt x="87" y="270"/>
                  <a:pt x="87" y="270"/>
                  <a:pt x="87" y="270"/>
                </a:cubicBezTo>
                <a:cubicBezTo>
                  <a:pt x="87" y="272"/>
                  <a:pt x="87" y="272"/>
                  <a:pt x="87" y="272"/>
                </a:cubicBezTo>
                <a:lnTo>
                  <a:pt x="86" y="273"/>
                </a:lnTo>
                <a:close/>
                <a:moveTo>
                  <a:pt x="85" y="275"/>
                </a:moveTo>
                <a:cubicBezTo>
                  <a:pt x="84" y="278"/>
                  <a:pt x="84" y="278"/>
                  <a:pt x="84" y="278"/>
                </a:cubicBezTo>
                <a:cubicBezTo>
                  <a:pt x="83" y="280"/>
                  <a:pt x="83" y="280"/>
                  <a:pt x="83" y="280"/>
                </a:cubicBezTo>
                <a:cubicBezTo>
                  <a:pt x="78" y="275"/>
                  <a:pt x="78" y="275"/>
                  <a:pt x="78" y="275"/>
                </a:cubicBezTo>
                <a:cubicBezTo>
                  <a:pt x="79" y="274"/>
                  <a:pt x="79" y="274"/>
                  <a:pt x="79" y="274"/>
                </a:cubicBezTo>
                <a:cubicBezTo>
                  <a:pt x="81" y="270"/>
                  <a:pt x="81" y="270"/>
                  <a:pt x="81" y="270"/>
                </a:cubicBezTo>
                <a:lnTo>
                  <a:pt x="85" y="275"/>
                </a:lnTo>
                <a:close/>
                <a:moveTo>
                  <a:pt x="78" y="272"/>
                </a:moveTo>
                <a:cubicBezTo>
                  <a:pt x="77" y="273"/>
                  <a:pt x="77" y="273"/>
                  <a:pt x="77" y="273"/>
                </a:cubicBezTo>
                <a:cubicBezTo>
                  <a:pt x="74" y="270"/>
                  <a:pt x="74" y="270"/>
                  <a:pt x="74" y="270"/>
                </a:cubicBezTo>
                <a:cubicBezTo>
                  <a:pt x="75" y="270"/>
                  <a:pt x="75" y="270"/>
                  <a:pt x="75" y="270"/>
                </a:cubicBezTo>
                <a:cubicBezTo>
                  <a:pt x="79" y="270"/>
                  <a:pt x="79" y="270"/>
                  <a:pt x="79" y="270"/>
                </a:cubicBezTo>
                <a:lnTo>
                  <a:pt x="78" y="272"/>
                </a:lnTo>
                <a:close/>
                <a:moveTo>
                  <a:pt x="76" y="275"/>
                </a:moveTo>
                <a:cubicBezTo>
                  <a:pt x="75" y="277"/>
                  <a:pt x="75" y="277"/>
                  <a:pt x="75" y="277"/>
                </a:cubicBezTo>
                <a:cubicBezTo>
                  <a:pt x="73" y="279"/>
                  <a:pt x="73" y="279"/>
                  <a:pt x="73" y="279"/>
                </a:cubicBezTo>
                <a:cubicBezTo>
                  <a:pt x="73" y="277"/>
                  <a:pt x="73" y="276"/>
                  <a:pt x="73" y="275"/>
                </a:cubicBezTo>
                <a:cubicBezTo>
                  <a:pt x="73" y="274"/>
                  <a:pt x="73" y="273"/>
                  <a:pt x="73" y="272"/>
                </a:cubicBezTo>
                <a:lnTo>
                  <a:pt x="76" y="275"/>
                </a:lnTo>
                <a:close/>
                <a:moveTo>
                  <a:pt x="63" y="352"/>
                </a:moveTo>
                <a:cubicBezTo>
                  <a:pt x="63" y="352"/>
                  <a:pt x="63" y="352"/>
                  <a:pt x="63" y="352"/>
                </a:cubicBezTo>
                <a:cubicBezTo>
                  <a:pt x="64" y="350"/>
                  <a:pt x="64" y="350"/>
                  <a:pt x="64" y="350"/>
                </a:cubicBezTo>
                <a:cubicBezTo>
                  <a:pt x="65" y="350"/>
                  <a:pt x="65" y="350"/>
                  <a:pt x="65" y="350"/>
                </a:cubicBezTo>
                <a:cubicBezTo>
                  <a:pt x="67" y="352"/>
                  <a:pt x="67" y="352"/>
                  <a:pt x="67" y="352"/>
                </a:cubicBezTo>
                <a:cubicBezTo>
                  <a:pt x="67" y="352"/>
                  <a:pt x="67" y="352"/>
                  <a:pt x="67" y="352"/>
                </a:cubicBezTo>
                <a:cubicBezTo>
                  <a:pt x="64" y="352"/>
                  <a:pt x="64" y="352"/>
                  <a:pt x="64" y="352"/>
                </a:cubicBezTo>
                <a:cubicBezTo>
                  <a:pt x="63" y="352"/>
                  <a:pt x="63" y="352"/>
                  <a:pt x="63" y="352"/>
                </a:cubicBezTo>
                <a:cubicBezTo>
                  <a:pt x="63" y="352"/>
                  <a:pt x="63" y="352"/>
                  <a:pt x="63" y="352"/>
                </a:cubicBezTo>
                <a:close/>
                <a:moveTo>
                  <a:pt x="62" y="350"/>
                </a:moveTo>
                <a:cubicBezTo>
                  <a:pt x="62" y="348"/>
                  <a:pt x="62" y="348"/>
                  <a:pt x="62" y="348"/>
                </a:cubicBezTo>
                <a:cubicBezTo>
                  <a:pt x="62" y="347"/>
                  <a:pt x="62" y="347"/>
                  <a:pt x="62" y="347"/>
                </a:cubicBezTo>
                <a:cubicBezTo>
                  <a:pt x="62" y="346"/>
                  <a:pt x="62" y="346"/>
                  <a:pt x="62" y="346"/>
                </a:cubicBezTo>
                <a:cubicBezTo>
                  <a:pt x="64" y="348"/>
                  <a:pt x="64" y="348"/>
                  <a:pt x="64" y="348"/>
                </a:cubicBezTo>
                <a:cubicBezTo>
                  <a:pt x="64" y="348"/>
                  <a:pt x="64" y="348"/>
                  <a:pt x="64" y="348"/>
                </a:cubicBezTo>
                <a:cubicBezTo>
                  <a:pt x="63" y="349"/>
                  <a:pt x="63" y="349"/>
                  <a:pt x="63" y="349"/>
                </a:cubicBezTo>
                <a:lnTo>
                  <a:pt x="62" y="350"/>
                </a:lnTo>
                <a:close/>
                <a:moveTo>
                  <a:pt x="65" y="365"/>
                </a:moveTo>
                <a:cubicBezTo>
                  <a:pt x="66" y="365"/>
                  <a:pt x="66" y="365"/>
                  <a:pt x="66" y="365"/>
                </a:cubicBezTo>
                <a:cubicBezTo>
                  <a:pt x="67" y="365"/>
                  <a:pt x="67" y="365"/>
                  <a:pt x="67" y="365"/>
                </a:cubicBezTo>
                <a:cubicBezTo>
                  <a:pt x="67" y="365"/>
                  <a:pt x="67" y="365"/>
                  <a:pt x="67" y="365"/>
                </a:cubicBezTo>
                <a:cubicBezTo>
                  <a:pt x="66" y="366"/>
                  <a:pt x="66" y="366"/>
                  <a:pt x="66" y="366"/>
                </a:cubicBezTo>
                <a:cubicBezTo>
                  <a:pt x="65" y="367"/>
                  <a:pt x="65" y="367"/>
                  <a:pt x="65" y="367"/>
                </a:cubicBezTo>
                <a:cubicBezTo>
                  <a:pt x="65" y="367"/>
                  <a:pt x="65" y="367"/>
                  <a:pt x="65" y="367"/>
                </a:cubicBezTo>
                <a:cubicBezTo>
                  <a:pt x="65" y="367"/>
                  <a:pt x="65" y="367"/>
                  <a:pt x="65" y="367"/>
                </a:cubicBezTo>
                <a:cubicBezTo>
                  <a:pt x="63" y="365"/>
                  <a:pt x="63" y="365"/>
                  <a:pt x="63" y="365"/>
                </a:cubicBezTo>
                <a:lnTo>
                  <a:pt x="65" y="365"/>
                </a:lnTo>
                <a:close/>
                <a:moveTo>
                  <a:pt x="66" y="348"/>
                </a:moveTo>
                <a:cubicBezTo>
                  <a:pt x="66" y="348"/>
                  <a:pt x="66" y="348"/>
                  <a:pt x="66" y="348"/>
                </a:cubicBezTo>
                <a:cubicBezTo>
                  <a:pt x="67" y="346"/>
                  <a:pt x="67" y="346"/>
                  <a:pt x="67" y="346"/>
                </a:cubicBezTo>
                <a:cubicBezTo>
                  <a:pt x="68" y="346"/>
                  <a:pt x="68" y="346"/>
                  <a:pt x="68" y="346"/>
                </a:cubicBezTo>
                <a:cubicBezTo>
                  <a:pt x="68" y="347"/>
                  <a:pt x="68" y="347"/>
                  <a:pt x="68" y="347"/>
                </a:cubicBezTo>
                <a:cubicBezTo>
                  <a:pt x="68" y="349"/>
                  <a:pt x="68" y="349"/>
                  <a:pt x="68" y="349"/>
                </a:cubicBezTo>
                <a:cubicBezTo>
                  <a:pt x="68" y="350"/>
                  <a:pt x="68" y="350"/>
                  <a:pt x="68" y="350"/>
                </a:cubicBezTo>
                <a:lnTo>
                  <a:pt x="66" y="348"/>
                </a:lnTo>
                <a:close/>
                <a:moveTo>
                  <a:pt x="62" y="370"/>
                </a:moveTo>
                <a:cubicBezTo>
                  <a:pt x="62" y="369"/>
                  <a:pt x="62" y="369"/>
                  <a:pt x="62" y="369"/>
                </a:cubicBezTo>
                <a:cubicBezTo>
                  <a:pt x="62" y="368"/>
                  <a:pt x="62" y="368"/>
                  <a:pt x="62" y="368"/>
                </a:cubicBezTo>
                <a:cubicBezTo>
                  <a:pt x="62" y="367"/>
                  <a:pt x="62" y="367"/>
                  <a:pt x="62" y="367"/>
                </a:cubicBezTo>
                <a:cubicBezTo>
                  <a:pt x="62" y="367"/>
                  <a:pt x="62" y="367"/>
                  <a:pt x="62" y="367"/>
                </a:cubicBezTo>
                <a:cubicBezTo>
                  <a:pt x="64" y="368"/>
                  <a:pt x="64" y="368"/>
                  <a:pt x="64" y="368"/>
                </a:cubicBezTo>
                <a:cubicBezTo>
                  <a:pt x="64" y="369"/>
                  <a:pt x="64" y="369"/>
                  <a:pt x="64" y="369"/>
                </a:cubicBezTo>
                <a:cubicBezTo>
                  <a:pt x="63" y="370"/>
                  <a:pt x="63" y="370"/>
                  <a:pt x="63" y="370"/>
                </a:cubicBezTo>
                <a:cubicBezTo>
                  <a:pt x="63" y="370"/>
                  <a:pt x="63" y="370"/>
                  <a:pt x="63" y="370"/>
                </a:cubicBezTo>
                <a:cubicBezTo>
                  <a:pt x="63" y="371"/>
                  <a:pt x="63" y="371"/>
                  <a:pt x="63" y="371"/>
                </a:cubicBezTo>
                <a:cubicBezTo>
                  <a:pt x="62" y="372"/>
                  <a:pt x="62" y="372"/>
                  <a:pt x="62" y="372"/>
                </a:cubicBezTo>
                <a:lnTo>
                  <a:pt x="62" y="370"/>
                </a:lnTo>
                <a:close/>
                <a:moveTo>
                  <a:pt x="67" y="374"/>
                </a:moveTo>
                <a:cubicBezTo>
                  <a:pt x="66" y="374"/>
                  <a:pt x="66" y="374"/>
                  <a:pt x="66"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5" y="374"/>
                  <a:pt x="65" y="374"/>
                  <a:pt x="65" y="374"/>
                </a:cubicBezTo>
                <a:cubicBezTo>
                  <a:pt x="63" y="374"/>
                  <a:pt x="63" y="374"/>
                  <a:pt x="63" y="374"/>
                </a:cubicBezTo>
                <a:cubicBezTo>
                  <a:pt x="64" y="372"/>
                  <a:pt x="64" y="372"/>
                  <a:pt x="64" y="372"/>
                </a:cubicBezTo>
                <a:cubicBezTo>
                  <a:pt x="65" y="371"/>
                  <a:pt x="65" y="371"/>
                  <a:pt x="65" y="371"/>
                </a:cubicBezTo>
                <a:cubicBezTo>
                  <a:pt x="65" y="371"/>
                  <a:pt x="65" y="371"/>
                  <a:pt x="65" y="371"/>
                </a:cubicBezTo>
                <a:cubicBezTo>
                  <a:pt x="65" y="370"/>
                  <a:pt x="65" y="370"/>
                  <a:pt x="65" y="370"/>
                </a:cubicBezTo>
                <a:cubicBezTo>
                  <a:pt x="67" y="373"/>
                  <a:pt x="67" y="373"/>
                  <a:pt x="67" y="373"/>
                </a:cubicBezTo>
                <a:cubicBezTo>
                  <a:pt x="68" y="374"/>
                  <a:pt x="68" y="374"/>
                  <a:pt x="68" y="374"/>
                </a:cubicBezTo>
                <a:lnTo>
                  <a:pt x="67" y="374"/>
                </a:lnTo>
                <a:close/>
                <a:moveTo>
                  <a:pt x="66" y="369"/>
                </a:moveTo>
                <a:cubicBezTo>
                  <a:pt x="67" y="369"/>
                  <a:pt x="67" y="369"/>
                  <a:pt x="67" y="369"/>
                </a:cubicBezTo>
                <a:cubicBezTo>
                  <a:pt x="67" y="367"/>
                  <a:pt x="67" y="367"/>
                  <a:pt x="67" y="367"/>
                </a:cubicBezTo>
                <a:cubicBezTo>
                  <a:pt x="68" y="367"/>
                  <a:pt x="68" y="367"/>
                  <a:pt x="68" y="367"/>
                </a:cubicBezTo>
                <a:cubicBezTo>
                  <a:pt x="68" y="367"/>
                  <a:pt x="68" y="367"/>
                  <a:pt x="68" y="367"/>
                </a:cubicBezTo>
                <a:cubicBezTo>
                  <a:pt x="68" y="367"/>
                  <a:pt x="68" y="367"/>
                  <a:pt x="68" y="367"/>
                </a:cubicBezTo>
                <a:cubicBezTo>
                  <a:pt x="68" y="368"/>
                  <a:pt x="68" y="368"/>
                  <a:pt x="68" y="368"/>
                </a:cubicBezTo>
                <a:cubicBezTo>
                  <a:pt x="68" y="370"/>
                  <a:pt x="68" y="370"/>
                  <a:pt x="68" y="370"/>
                </a:cubicBezTo>
                <a:cubicBezTo>
                  <a:pt x="68" y="372"/>
                  <a:pt x="68" y="372"/>
                  <a:pt x="68" y="372"/>
                </a:cubicBezTo>
                <a:lnTo>
                  <a:pt x="66" y="369"/>
                </a:lnTo>
                <a:close/>
                <a:moveTo>
                  <a:pt x="71" y="359"/>
                </a:moveTo>
                <a:cubicBezTo>
                  <a:pt x="71" y="359"/>
                  <a:pt x="71" y="359"/>
                  <a:pt x="71" y="359"/>
                </a:cubicBezTo>
                <a:cubicBezTo>
                  <a:pt x="70" y="360"/>
                  <a:pt x="70" y="360"/>
                  <a:pt x="70" y="360"/>
                </a:cubicBezTo>
                <a:cubicBezTo>
                  <a:pt x="70" y="361"/>
                  <a:pt x="70" y="361"/>
                  <a:pt x="70" y="361"/>
                </a:cubicBezTo>
                <a:cubicBezTo>
                  <a:pt x="70" y="360"/>
                  <a:pt x="70" y="360"/>
                  <a:pt x="70" y="360"/>
                </a:cubicBezTo>
                <a:cubicBezTo>
                  <a:pt x="70" y="359"/>
                  <a:pt x="70" y="359"/>
                  <a:pt x="70" y="359"/>
                </a:cubicBezTo>
                <a:cubicBezTo>
                  <a:pt x="70" y="358"/>
                  <a:pt x="70" y="358"/>
                  <a:pt x="70" y="358"/>
                </a:cubicBezTo>
                <a:cubicBezTo>
                  <a:pt x="70" y="356"/>
                  <a:pt x="70" y="356"/>
                  <a:pt x="70" y="356"/>
                </a:cubicBezTo>
                <a:cubicBezTo>
                  <a:pt x="71" y="359"/>
                  <a:pt x="71" y="359"/>
                  <a:pt x="71" y="359"/>
                </a:cubicBezTo>
                <a:close/>
                <a:moveTo>
                  <a:pt x="75" y="374"/>
                </a:moveTo>
                <a:cubicBezTo>
                  <a:pt x="74" y="374"/>
                  <a:pt x="74" y="374"/>
                  <a:pt x="74" y="374"/>
                </a:cubicBezTo>
                <a:cubicBezTo>
                  <a:pt x="72" y="374"/>
                  <a:pt x="72" y="374"/>
                  <a:pt x="72" y="374"/>
                </a:cubicBezTo>
                <a:cubicBezTo>
                  <a:pt x="71" y="374"/>
                  <a:pt x="71" y="374"/>
                  <a:pt x="71" y="374"/>
                </a:cubicBezTo>
                <a:cubicBezTo>
                  <a:pt x="72" y="373"/>
                  <a:pt x="72" y="373"/>
                  <a:pt x="72" y="373"/>
                </a:cubicBezTo>
                <a:cubicBezTo>
                  <a:pt x="72" y="372"/>
                  <a:pt x="72" y="372"/>
                  <a:pt x="72" y="372"/>
                </a:cubicBezTo>
                <a:cubicBezTo>
                  <a:pt x="73" y="371"/>
                  <a:pt x="73" y="371"/>
                  <a:pt x="73" y="371"/>
                </a:cubicBezTo>
                <a:cubicBezTo>
                  <a:pt x="73" y="370"/>
                  <a:pt x="73" y="370"/>
                  <a:pt x="73" y="370"/>
                </a:cubicBezTo>
                <a:cubicBezTo>
                  <a:pt x="76" y="374"/>
                  <a:pt x="76" y="374"/>
                  <a:pt x="76" y="374"/>
                </a:cubicBezTo>
                <a:lnTo>
                  <a:pt x="75" y="374"/>
                </a:lnTo>
                <a:close/>
                <a:moveTo>
                  <a:pt x="74" y="369"/>
                </a:moveTo>
                <a:cubicBezTo>
                  <a:pt x="75" y="368"/>
                  <a:pt x="75" y="368"/>
                  <a:pt x="75" y="368"/>
                </a:cubicBezTo>
                <a:cubicBezTo>
                  <a:pt x="75" y="368"/>
                  <a:pt x="75" y="368"/>
                  <a:pt x="75" y="368"/>
                </a:cubicBezTo>
                <a:cubicBezTo>
                  <a:pt x="75" y="367"/>
                  <a:pt x="75" y="367"/>
                  <a:pt x="75" y="367"/>
                </a:cubicBezTo>
                <a:cubicBezTo>
                  <a:pt x="76" y="367"/>
                  <a:pt x="76" y="367"/>
                  <a:pt x="76" y="367"/>
                </a:cubicBezTo>
                <a:cubicBezTo>
                  <a:pt x="76" y="366"/>
                  <a:pt x="76" y="366"/>
                  <a:pt x="76" y="366"/>
                </a:cubicBezTo>
                <a:cubicBezTo>
                  <a:pt x="76" y="367"/>
                  <a:pt x="76" y="367"/>
                  <a:pt x="76" y="367"/>
                </a:cubicBezTo>
                <a:cubicBezTo>
                  <a:pt x="76" y="368"/>
                  <a:pt x="76" y="368"/>
                  <a:pt x="76" y="368"/>
                </a:cubicBezTo>
                <a:cubicBezTo>
                  <a:pt x="77" y="370"/>
                  <a:pt x="77" y="370"/>
                  <a:pt x="77" y="370"/>
                </a:cubicBezTo>
                <a:cubicBezTo>
                  <a:pt x="77" y="370"/>
                  <a:pt x="77" y="370"/>
                  <a:pt x="77" y="370"/>
                </a:cubicBezTo>
                <a:cubicBezTo>
                  <a:pt x="77" y="371"/>
                  <a:pt x="77" y="371"/>
                  <a:pt x="77" y="371"/>
                </a:cubicBezTo>
                <a:lnTo>
                  <a:pt x="74" y="369"/>
                </a:lnTo>
                <a:close/>
                <a:moveTo>
                  <a:pt x="77" y="305"/>
                </a:moveTo>
                <a:cubicBezTo>
                  <a:pt x="77" y="304"/>
                  <a:pt x="77" y="304"/>
                  <a:pt x="77" y="303"/>
                </a:cubicBezTo>
                <a:cubicBezTo>
                  <a:pt x="82" y="306"/>
                  <a:pt x="82" y="306"/>
                  <a:pt x="82" y="306"/>
                </a:cubicBezTo>
                <a:cubicBezTo>
                  <a:pt x="85" y="308"/>
                  <a:pt x="85" y="308"/>
                  <a:pt x="85" y="308"/>
                </a:cubicBezTo>
                <a:cubicBezTo>
                  <a:pt x="87" y="309"/>
                  <a:pt x="87" y="309"/>
                  <a:pt x="87" y="309"/>
                </a:cubicBezTo>
                <a:cubicBezTo>
                  <a:pt x="87" y="309"/>
                  <a:pt x="87" y="309"/>
                  <a:pt x="87" y="309"/>
                </a:cubicBezTo>
                <a:cubicBezTo>
                  <a:pt x="86" y="310"/>
                  <a:pt x="86" y="310"/>
                  <a:pt x="86" y="310"/>
                </a:cubicBezTo>
                <a:cubicBezTo>
                  <a:pt x="84" y="312"/>
                  <a:pt x="84" y="312"/>
                  <a:pt x="84" y="312"/>
                </a:cubicBezTo>
                <a:cubicBezTo>
                  <a:pt x="83" y="313"/>
                  <a:pt x="83" y="313"/>
                  <a:pt x="83" y="313"/>
                </a:cubicBezTo>
                <a:cubicBezTo>
                  <a:pt x="81" y="314"/>
                  <a:pt x="81" y="314"/>
                  <a:pt x="81" y="314"/>
                </a:cubicBezTo>
                <a:cubicBezTo>
                  <a:pt x="81" y="315"/>
                  <a:pt x="81" y="315"/>
                  <a:pt x="81" y="315"/>
                </a:cubicBezTo>
                <a:cubicBezTo>
                  <a:pt x="80" y="315"/>
                  <a:pt x="80" y="315"/>
                  <a:pt x="80" y="315"/>
                </a:cubicBezTo>
                <a:cubicBezTo>
                  <a:pt x="80" y="316"/>
                  <a:pt x="80" y="316"/>
                  <a:pt x="80" y="316"/>
                </a:cubicBezTo>
                <a:cubicBezTo>
                  <a:pt x="79" y="316"/>
                  <a:pt x="79" y="316"/>
                  <a:pt x="79" y="316"/>
                </a:cubicBezTo>
                <a:cubicBezTo>
                  <a:pt x="79" y="316"/>
                  <a:pt x="79" y="315"/>
                  <a:pt x="78" y="314"/>
                </a:cubicBezTo>
                <a:cubicBezTo>
                  <a:pt x="78" y="313"/>
                  <a:pt x="78" y="313"/>
                  <a:pt x="78" y="313"/>
                </a:cubicBezTo>
                <a:cubicBezTo>
                  <a:pt x="78" y="312"/>
                  <a:pt x="78" y="312"/>
                  <a:pt x="78" y="312"/>
                </a:cubicBezTo>
                <a:cubicBezTo>
                  <a:pt x="78" y="311"/>
                  <a:pt x="78" y="311"/>
                  <a:pt x="78" y="311"/>
                </a:cubicBezTo>
                <a:cubicBezTo>
                  <a:pt x="78" y="310"/>
                  <a:pt x="77" y="309"/>
                  <a:pt x="77" y="307"/>
                </a:cubicBezTo>
                <a:cubicBezTo>
                  <a:pt x="77" y="307"/>
                  <a:pt x="77" y="306"/>
                  <a:pt x="77" y="305"/>
                </a:cubicBezTo>
                <a:close/>
                <a:moveTo>
                  <a:pt x="77" y="361"/>
                </a:moveTo>
                <a:cubicBezTo>
                  <a:pt x="77" y="360"/>
                  <a:pt x="77" y="360"/>
                  <a:pt x="77" y="360"/>
                </a:cubicBezTo>
                <a:cubicBezTo>
                  <a:pt x="77" y="358"/>
                  <a:pt x="77" y="358"/>
                  <a:pt x="77" y="358"/>
                </a:cubicBezTo>
                <a:cubicBezTo>
                  <a:pt x="77" y="356"/>
                  <a:pt x="77" y="356"/>
                  <a:pt x="77" y="356"/>
                </a:cubicBezTo>
                <a:cubicBezTo>
                  <a:pt x="79" y="358"/>
                  <a:pt x="79" y="358"/>
                  <a:pt x="79" y="358"/>
                </a:cubicBezTo>
                <a:cubicBezTo>
                  <a:pt x="78" y="359"/>
                  <a:pt x="78" y="359"/>
                  <a:pt x="78" y="359"/>
                </a:cubicBezTo>
                <a:cubicBezTo>
                  <a:pt x="78" y="360"/>
                  <a:pt x="78" y="360"/>
                  <a:pt x="78" y="360"/>
                </a:cubicBezTo>
                <a:lnTo>
                  <a:pt x="77" y="361"/>
                </a:lnTo>
                <a:close/>
                <a:moveTo>
                  <a:pt x="79" y="370"/>
                </a:moveTo>
                <a:cubicBezTo>
                  <a:pt x="79" y="371"/>
                  <a:pt x="79" y="371"/>
                  <a:pt x="79" y="371"/>
                </a:cubicBezTo>
                <a:cubicBezTo>
                  <a:pt x="79" y="372"/>
                  <a:pt x="79" y="372"/>
                  <a:pt x="79" y="372"/>
                </a:cubicBezTo>
                <a:cubicBezTo>
                  <a:pt x="79" y="370"/>
                  <a:pt x="79" y="370"/>
                  <a:pt x="79" y="370"/>
                </a:cubicBezTo>
                <a:cubicBezTo>
                  <a:pt x="78" y="369"/>
                  <a:pt x="78" y="369"/>
                  <a:pt x="78" y="369"/>
                </a:cubicBezTo>
                <a:cubicBezTo>
                  <a:pt x="78" y="368"/>
                  <a:pt x="78" y="368"/>
                  <a:pt x="78" y="368"/>
                </a:cubicBezTo>
                <a:cubicBezTo>
                  <a:pt x="78" y="367"/>
                  <a:pt x="78" y="367"/>
                  <a:pt x="78" y="367"/>
                </a:cubicBezTo>
                <a:cubicBezTo>
                  <a:pt x="80" y="369"/>
                  <a:pt x="80" y="369"/>
                  <a:pt x="80" y="369"/>
                </a:cubicBezTo>
                <a:cubicBezTo>
                  <a:pt x="80" y="369"/>
                  <a:pt x="80" y="369"/>
                  <a:pt x="80" y="369"/>
                </a:cubicBezTo>
                <a:lnTo>
                  <a:pt x="79" y="370"/>
                </a:lnTo>
                <a:close/>
                <a:moveTo>
                  <a:pt x="84" y="373"/>
                </a:moveTo>
                <a:cubicBezTo>
                  <a:pt x="83" y="374"/>
                  <a:pt x="83" y="374"/>
                  <a:pt x="83" y="374"/>
                </a:cubicBezTo>
                <a:cubicBezTo>
                  <a:pt x="82" y="374"/>
                  <a:pt x="82" y="374"/>
                  <a:pt x="82" y="374"/>
                </a:cubicBezTo>
                <a:cubicBezTo>
                  <a:pt x="80" y="374"/>
                  <a:pt x="80" y="374"/>
                  <a:pt x="80" y="374"/>
                </a:cubicBezTo>
                <a:cubicBezTo>
                  <a:pt x="80" y="374"/>
                  <a:pt x="80" y="374"/>
                  <a:pt x="80" y="374"/>
                </a:cubicBezTo>
                <a:cubicBezTo>
                  <a:pt x="80" y="374"/>
                  <a:pt x="80" y="374"/>
                  <a:pt x="80" y="374"/>
                </a:cubicBezTo>
                <a:cubicBezTo>
                  <a:pt x="80" y="373"/>
                  <a:pt x="80" y="373"/>
                  <a:pt x="80" y="373"/>
                </a:cubicBezTo>
                <a:cubicBezTo>
                  <a:pt x="80" y="373"/>
                  <a:pt x="80" y="373"/>
                  <a:pt x="80" y="373"/>
                </a:cubicBezTo>
                <a:cubicBezTo>
                  <a:pt x="81" y="372"/>
                  <a:pt x="81" y="372"/>
                  <a:pt x="81" y="372"/>
                </a:cubicBezTo>
                <a:cubicBezTo>
                  <a:pt x="81" y="372"/>
                  <a:pt x="81" y="372"/>
                  <a:pt x="81" y="372"/>
                </a:cubicBezTo>
                <a:cubicBezTo>
                  <a:pt x="81" y="371"/>
                  <a:pt x="81" y="371"/>
                  <a:pt x="81" y="371"/>
                </a:cubicBezTo>
                <a:cubicBezTo>
                  <a:pt x="82" y="370"/>
                  <a:pt x="82" y="370"/>
                  <a:pt x="82" y="370"/>
                </a:cubicBezTo>
                <a:cubicBezTo>
                  <a:pt x="85" y="373"/>
                  <a:pt x="85" y="373"/>
                  <a:pt x="85" y="373"/>
                </a:cubicBezTo>
                <a:lnTo>
                  <a:pt x="84" y="373"/>
                </a:lnTo>
                <a:close/>
                <a:moveTo>
                  <a:pt x="82" y="368"/>
                </a:moveTo>
                <a:cubicBezTo>
                  <a:pt x="83" y="367"/>
                  <a:pt x="83" y="367"/>
                  <a:pt x="83" y="367"/>
                </a:cubicBezTo>
                <a:cubicBezTo>
                  <a:pt x="83" y="367"/>
                  <a:pt x="83" y="367"/>
                  <a:pt x="83" y="367"/>
                </a:cubicBezTo>
                <a:cubicBezTo>
                  <a:pt x="84" y="366"/>
                  <a:pt x="84" y="366"/>
                  <a:pt x="84" y="366"/>
                </a:cubicBezTo>
                <a:cubicBezTo>
                  <a:pt x="84" y="367"/>
                  <a:pt x="84" y="367"/>
                  <a:pt x="84" y="367"/>
                </a:cubicBezTo>
                <a:cubicBezTo>
                  <a:pt x="84" y="369"/>
                  <a:pt x="84" y="369"/>
                  <a:pt x="84" y="369"/>
                </a:cubicBezTo>
                <a:cubicBezTo>
                  <a:pt x="85" y="371"/>
                  <a:pt x="85" y="371"/>
                  <a:pt x="85" y="371"/>
                </a:cubicBezTo>
                <a:lnTo>
                  <a:pt x="82" y="368"/>
                </a:lnTo>
                <a:close/>
                <a:moveTo>
                  <a:pt x="88" y="370"/>
                </a:moveTo>
                <a:cubicBezTo>
                  <a:pt x="88" y="371"/>
                  <a:pt x="88" y="371"/>
                  <a:pt x="88" y="371"/>
                </a:cubicBezTo>
                <a:cubicBezTo>
                  <a:pt x="87" y="372"/>
                  <a:pt x="87" y="372"/>
                  <a:pt x="87" y="372"/>
                </a:cubicBezTo>
                <a:cubicBezTo>
                  <a:pt x="87" y="372"/>
                  <a:pt x="87" y="372"/>
                  <a:pt x="87" y="372"/>
                </a:cubicBezTo>
                <a:cubicBezTo>
                  <a:pt x="87" y="372"/>
                  <a:pt x="87" y="372"/>
                  <a:pt x="87" y="372"/>
                </a:cubicBezTo>
                <a:cubicBezTo>
                  <a:pt x="87" y="370"/>
                  <a:pt x="87" y="370"/>
                  <a:pt x="87" y="370"/>
                </a:cubicBezTo>
                <a:cubicBezTo>
                  <a:pt x="86" y="368"/>
                  <a:pt x="86" y="368"/>
                  <a:pt x="86" y="368"/>
                </a:cubicBezTo>
                <a:cubicBezTo>
                  <a:pt x="86" y="367"/>
                  <a:pt x="86" y="367"/>
                  <a:pt x="86" y="367"/>
                </a:cubicBezTo>
                <a:cubicBezTo>
                  <a:pt x="88" y="369"/>
                  <a:pt x="88" y="369"/>
                  <a:pt x="88" y="369"/>
                </a:cubicBezTo>
                <a:lnTo>
                  <a:pt x="88" y="370"/>
                </a:lnTo>
                <a:close/>
                <a:moveTo>
                  <a:pt x="88" y="363"/>
                </a:moveTo>
                <a:cubicBezTo>
                  <a:pt x="87" y="363"/>
                  <a:pt x="87" y="363"/>
                  <a:pt x="87" y="363"/>
                </a:cubicBezTo>
                <a:cubicBezTo>
                  <a:pt x="86" y="363"/>
                  <a:pt x="86" y="363"/>
                  <a:pt x="86" y="363"/>
                </a:cubicBezTo>
                <a:cubicBezTo>
                  <a:pt x="86" y="363"/>
                  <a:pt x="86" y="363"/>
                  <a:pt x="86" y="363"/>
                </a:cubicBezTo>
                <a:cubicBezTo>
                  <a:pt x="86" y="362"/>
                  <a:pt x="86" y="362"/>
                  <a:pt x="86" y="362"/>
                </a:cubicBezTo>
                <a:cubicBezTo>
                  <a:pt x="86" y="362"/>
                  <a:pt x="86" y="362"/>
                  <a:pt x="86" y="362"/>
                </a:cubicBezTo>
                <a:cubicBezTo>
                  <a:pt x="86" y="361"/>
                  <a:pt x="86" y="361"/>
                  <a:pt x="86" y="361"/>
                </a:cubicBezTo>
                <a:cubicBezTo>
                  <a:pt x="87" y="360"/>
                  <a:pt x="87" y="360"/>
                  <a:pt x="87" y="360"/>
                </a:cubicBezTo>
                <a:cubicBezTo>
                  <a:pt x="87" y="360"/>
                  <a:pt x="87" y="360"/>
                  <a:pt x="87" y="360"/>
                </a:cubicBezTo>
                <a:cubicBezTo>
                  <a:pt x="88" y="361"/>
                  <a:pt x="88" y="361"/>
                  <a:pt x="88" y="361"/>
                </a:cubicBezTo>
                <a:cubicBezTo>
                  <a:pt x="89" y="363"/>
                  <a:pt x="89" y="363"/>
                  <a:pt x="89" y="363"/>
                </a:cubicBezTo>
                <a:lnTo>
                  <a:pt x="88" y="363"/>
                </a:lnTo>
                <a:close/>
                <a:moveTo>
                  <a:pt x="92" y="373"/>
                </a:moveTo>
                <a:cubicBezTo>
                  <a:pt x="90" y="373"/>
                  <a:pt x="90" y="373"/>
                  <a:pt x="90" y="373"/>
                </a:cubicBezTo>
                <a:cubicBezTo>
                  <a:pt x="89" y="373"/>
                  <a:pt x="89" y="373"/>
                  <a:pt x="89" y="373"/>
                </a:cubicBezTo>
                <a:cubicBezTo>
                  <a:pt x="89" y="373"/>
                  <a:pt x="89" y="373"/>
                  <a:pt x="89" y="373"/>
                </a:cubicBezTo>
                <a:cubicBezTo>
                  <a:pt x="89" y="373"/>
                  <a:pt x="89" y="373"/>
                  <a:pt x="89" y="373"/>
                </a:cubicBezTo>
                <a:cubicBezTo>
                  <a:pt x="89" y="372"/>
                  <a:pt x="89" y="372"/>
                  <a:pt x="89" y="372"/>
                </a:cubicBezTo>
                <a:cubicBezTo>
                  <a:pt x="89" y="371"/>
                  <a:pt x="89" y="371"/>
                  <a:pt x="89" y="371"/>
                </a:cubicBezTo>
                <a:cubicBezTo>
                  <a:pt x="90" y="370"/>
                  <a:pt x="90" y="370"/>
                  <a:pt x="90" y="370"/>
                </a:cubicBezTo>
                <a:cubicBezTo>
                  <a:pt x="94" y="373"/>
                  <a:pt x="94" y="373"/>
                  <a:pt x="94" y="373"/>
                </a:cubicBezTo>
                <a:lnTo>
                  <a:pt x="92" y="373"/>
                </a:lnTo>
                <a:close/>
                <a:moveTo>
                  <a:pt x="96" y="370"/>
                </a:moveTo>
                <a:cubicBezTo>
                  <a:pt x="96" y="371"/>
                  <a:pt x="96" y="371"/>
                  <a:pt x="96" y="371"/>
                </a:cubicBezTo>
                <a:cubicBezTo>
                  <a:pt x="96" y="371"/>
                  <a:pt x="96" y="371"/>
                  <a:pt x="96" y="371"/>
                </a:cubicBezTo>
                <a:cubicBezTo>
                  <a:pt x="95" y="370"/>
                  <a:pt x="95" y="370"/>
                  <a:pt x="95" y="370"/>
                </a:cubicBezTo>
                <a:cubicBezTo>
                  <a:pt x="95" y="369"/>
                  <a:pt x="95" y="369"/>
                  <a:pt x="95" y="369"/>
                </a:cubicBezTo>
                <a:cubicBezTo>
                  <a:pt x="94" y="367"/>
                  <a:pt x="94" y="367"/>
                  <a:pt x="94" y="367"/>
                </a:cubicBezTo>
                <a:cubicBezTo>
                  <a:pt x="96" y="369"/>
                  <a:pt x="96" y="369"/>
                  <a:pt x="96" y="369"/>
                </a:cubicBezTo>
                <a:lnTo>
                  <a:pt x="96" y="370"/>
                </a:lnTo>
                <a:close/>
                <a:moveTo>
                  <a:pt x="96" y="358"/>
                </a:moveTo>
                <a:cubicBezTo>
                  <a:pt x="96" y="358"/>
                  <a:pt x="96" y="358"/>
                  <a:pt x="96" y="358"/>
                </a:cubicBezTo>
                <a:cubicBezTo>
                  <a:pt x="97" y="357"/>
                  <a:pt x="97" y="357"/>
                  <a:pt x="97" y="357"/>
                </a:cubicBezTo>
                <a:cubicBezTo>
                  <a:pt x="97" y="357"/>
                  <a:pt x="97" y="357"/>
                  <a:pt x="97" y="357"/>
                </a:cubicBezTo>
                <a:cubicBezTo>
                  <a:pt x="98" y="356"/>
                  <a:pt x="98" y="356"/>
                  <a:pt x="98" y="356"/>
                </a:cubicBezTo>
                <a:cubicBezTo>
                  <a:pt x="98" y="358"/>
                  <a:pt x="98" y="358"/>
                  <a:pt x="98" y="358"/>
                </a:cubicBezTo>
                <a:cubicBezTo>
                  <a:pt x="98" y="358"/>
                  <a:pt x="98" y="358"/>
                  <a:pt x="98" y="358"/>
                </a:cubicBezTo>
                <a:cubicBezTo>
                  <a:pt x="98" y="359"/>
                  <a:pt x="98" y="359"/>
                  <a:pt x="98" y="359"/>
                </a:cubicBezTo>
                <a:cubicBezTo>
                  <a:pt x="98" y="361"/>
                  <a:pt x="98" y="361"/>
                  <a:pt x="98" y="361"/>
                </a:cubicBezTo>
                <a:lnTo>
                  <a:pt x="96" y="358"/>
                </a:lnTo>
                <a:close/>
                <a:moveTo>
                  <a:pt x="96" y="348"/>
                </a:moveTo>
                <a:cubicBezTo>
                  <a:pt x="96" y="347"/>
                  <a:pt x="96" y="347"/>
                  <a:pt x="96" y="347"/>
                </a:cubicBezTo>
                <a:cubicBezTo>
                  <a:pt x="96" y="347"/>
                  <a:pt x="96" y="347"/>
                  <a:pt x="96" y="347"/>
                </a:cubicBezTo>
                <a:cubicBezTo>
                  <a:pt x="97" y="347"/>
                  <a:pt x="97" y="347"/>
                  <a:pt x="97" y="347"/>
                </a:cubicBezTo>
                <a:cubicBezTo>
                  <a:pt x="97" y="346"/>
                  <a:pt x="97" y="346"/>
                  <a:pt x="97" y="346"/>
                </a:cubicBezTo>
                <a:cubicBezTo>
                  <a:pt x="97" y="346"/>
                  <a:pt x="97" y="346"/>
                  <a:pt x="97" y="346"/>
                </a:cubicBezTo>
                <a:cubicBezTo>
                  <a:pt x="97" y="346"/>
                  <a:pt x="97" y="346"/>
                  <a:pt x="97" y="346"/>
                </a:cubicBezTo>
                <a:cubicBezTo>
                  <a:pt x="97" y="348"/>
                  <a:pt x="97" y="348"/>
                  <a:pt x="97" y="348"/>
                </a:cubicBezTo>
                <a:cubicBezTo>
                  <a:pt x="97" y="348"/>
                  <a:pt x="97" y="348"/>
                  <a:pt x="97" y="348"/>
                </a:cubicBezTo>
                <a:cubicBezTo>
                  <a:pt x="97" y="350"/>
                  <a:pt x="97" y="350"/>
                  <a:pt x="97" y="350"/>
                </a:cubicBezTo>
                <a:lnTo>
                  <a:pt x="96" y="348"/>
                </a:lnTo>
                <a:close/>
                <a:moveTo>
                  <a:pt x="101" y="373"/>
                </a:moveTo>
                <a:cubicBezTo>
                  <a:pt x="99" y="373"/>
                  <a:pt x="99" y="373"/>
                  <a:pt x="99" y="373"/>
                </a:cubicBezTo>
                <a:cubicBezTo>
                  <a:pt x="98" y="373"/>
                  <a:pt x="98" y="373"/>
                  <a:pt x="98" y="373"/>
                </a:cubicBezTo>
                <a:cubicBezTo>
                  <a:pt x="97" y="373"/>
                  <a:pt x="97" y="373"/>
                  <a:pt x="97" y="373"/>
                </a:cubicBezTo>
                <a:cubicBezTo>
                  <a:pt x="97" y="373"/>
                  <a:pt x="97" y="373"/>
                  <a:pt x="97" y="373"/>
                </a:cubicBezTo>
                <a:cubicBezTo>
                  <a:pt x="97" y="373"/>
                  <a:pt x="97" y="373"/>
                  <a:pt x="97" y="373"/>
                </a:cubicBezTo>
                <a:cubicBezTo>
                  <a:pt x="97" y="372"/>
                  <a:pt x="97" y="372"/>
                  <a:pt x="97" y="372"/>
                </a:cubicBezTo>
                <a:cubicBezTo>
                  <a:pt x="98" y="372"/>
                  <a:pt x="98" y="372"/>
                  <a:pt x="98" y="372"/>
                </a:cubicBezTo>
                <a:cubicBezTo>
                  <a:pt x="98" y="370"/>
                  <a:pt x="98" y="370"/>
                  <a:pt x="98" y="370"/>
                </a:cubicBezTo>
                <a:cubicBezTo>
                  <a:pt x="99" y="371"/>
                  <a:pt x="99" y="371"/>
                  <a:pt x="99" y="371"/>
                </a:cubicBezTo>
                <a:cubicBezTo>
                  <a:pt x="102" y="373"/>
                  <a:pt x="102" y="373"/>
                  <a:pt x="102" y="373"/>
                </a:cubicBezTo>
                <a:lnTo>
                  <a:pt x="101" y="373"/>
                </a:lnTo>
                <a:close/>
                <a:moveTo>
                  <a:pt x="100" y="348"/>
                </a:moveTo>
                <a:cubicBezTo>
                  <a:pt x="100" y="349"/>
                  <a:pt x="100" y="349"/>
                  <a:pt x="100" y="349"/>
                </a:cubicBezTo>
                <a:cubicBezTo>
                  <a:pt x="100" y="350"/>
                  <a:pt x="100" y="350"/>
                  <a:pt x="100" y="350"/>
                </a:cubicBezTo>
                <a:cubicBezTo>
                  <a:pt x="99" y="350"/>
                  <a:pt x="99" y="350"/>
                  <a:pt x="99" y="350"/>
                </a:cubicBezTo>
                <a:cubicBezTo>
                  <a:pt x="99" y="349"/>
                  <a:pt x="99" y="349"/>
                  <a:pt x="99" y="349"/>
                </a:cubicBezTo>
                <a:cubicBezTo>
                  <a:pt x="99" y="348"/>
                  <a:pt x="99" y="348"/>
                  <a:pt x="99" y="348"/>
                </a:cubicBezTo>
                <a:cubicBezTo>
                  <a:pt x="99" y="347"/>
                  <a:pt x="99" y="347"/>
                  <a:pt x="99" y="347"/>
                </a:cubicBezTo>
                <a:cubicBezTo>
                  <a:pt x="99" y="345"/>
                  <a:pt x="99" y="345"/>
                  <a:pt x="99" y="345"/>
                </a:cubicBezTo>
                <a:cubicBezTo>
                  <a:pt x="101" y="347"/>
                  <a:pt x="101" y="347"/>
                  <a:pt x="101" y="347"/>
                </a:cubicBezTo>
                <a:lnTo>
                  <a:pt x="100" y="348"/>
                </a:lnTo>
                <a:close/>
                <a:moveTo>
                  <a:pt x="101" y="358"/>
                </a:moveTo>
                <a:cubicBezTo>
                  <a:pt x="101" y="359"/>
                  <a:pt x="101" y="359"/>
                  <a:pt x="101" y="359"/>
                </a:cubicBezTo>
                <a:cubicBezTo>
                  <a:pt x="100" y="360"/>
                  <a:pt x="100" y="360"/>
                  <a:pt x="100" y="360"/>
                </a:cubicBezTo>
                <a:cubicBezTo>
                  <a:pt x="100" y="360"/>
                  <a:pt x="100" y="360"/>
                  <a:pt x="100" y="360"/>
                </a:cubicBezTo>
                <a:cubicBezTo>
                  <a:pt x="100" y="360"/>
                  <a:pt x="100" y="360"/>
                  <a:pt x="100" y="360"/>
                </a:cubicBezTo>
                <a:cubicBezTo>
                  <a:pt x="100" y="360"/>
                  <a:pt x="100" y="360"/>
                  <a:pt x="100" y="360"/>
                </a:cubicBezTo>
                <a:cubicBezTo>
                  <a:pt x="100" y="359"/>
                  <a:pt x="100" y="359"/>
                  <a:pt x="100" y="359"/>
                </a:cubicBezTo>
                <a:cubicBezTo>
                  <a:pt x="99" y="357"/>
                  <a:pt x="99" y="357"/>
                  <a:pt x="99" y="357"/>
                </a:cubicBezTo>
                <a:cubicBezTo>
                  <a:pt x="99" y="356"/>
                  <a:pt x="99" y="356"/>
                  <a:pt x="99" y="356"/>
                </a:cubicBezTo>
                <a:lnTo>
                  <a:pt x="101" y="358"/>
                </a:lnTo>
                <a:close/>
                <a:moveTo>
                  <a:pt x="100" y="369"/>
                </a:moveTo>
                <a:cubicBezTo>
                  <a:pt x="101" y="371"/>
                  <a:pt x="101" y="371"/>
                  <a:pt x="101" y="371"/>
                </a:cubicBezTo>
                <a:cubicBezTo>
                  <a:pt x="98" y="368"/>
                  <a:pt x="98" y="368"/>
                  <a:pt x="98" y="368"/>
                </a:cubicBezTo>
                <a:cubicBezTo>
                  <a:pt x="99" y="367"/>
                  <a:pt x="99" y="367"/>
                  <a:pt x="99" y="367"/>
                </a:cubicBezTo>
                <a:cubicBezTo>
                  <a:pt x="99" y="366"/>
                  <a:pt x="99" y="366"/>
                  <a:pt x="99" y="366"/>
                </a:cubicBezTo>
                <a:cubicBezTo>
                  <a:pt x="99" y="366"/>
                  <a:pt x="99" y="366"/>
                  <a:pt x="99" y="366"/>
                </a:cubicBezTo>
                <a:cubicBezTo>
                  <a:pt x="99" y="367"/>
                  <a:pt x="99" y="367"/>
                  <a:pt x="99" y="367"/>
                </a:cubicBezTo>
                <a:lnTo>
                  <a:pt x="100" y="369"/>
                </a:lnTo>
                <a:close/>
                <a:moveTo>
                  <a:pt x="103" y="347"/>
                </a:moveTo>
                <a:cubicBezTo>
                  <a:pt x="104" y="347"/>
                  <a:pt x="104" y="347"/>
                  <a:pt x="104" y="347"/>
                </a:cubicBezTo>
                <a:cubicBezTo>
                  <a:pt x="104" y="346"/>
                  <a:pt x="104" y="346"/>
                  <a:pt x="104" y="346"/>
                </a:cubicBezTo>
                <a:cubicBezTo>
                  <a:pt x="105" y="346"/>
                  <a:pt x="105" y="346"/>
                  <a:pt x="105" y="346"/>
                </a:cubicBezTo>
                <a:cubicBezTo>
                  <a:pt x="105" y="346"/>
                  <a:pt x="105" y="346"/>
                  <a:pt x="105" y="346"/>
                </a:cubicBezTo>
                <a:cubicBezTo>
                  <a:pt x="105" y="346"/>
                  <a:pt x="105" y="346"/>
                  <a:pt x="105" y="346"/>
                </a:cubicBezTo>
                <a:cubicBezTo>
                  <a:pt x="105" y="348"/>
                  <a:pt x="105" y="348"/>
                  <a:pt x="105" y="348"/>
                </a:cubicBezTo>
                <a:cubicBezTo>
                  <a:pt x="105" y="350"/>
                  <a:pt x="105" y="350"/>
                  <a:pt x="105" y="350"/>
                </a:cubicBezTo>
                <a:lnTo>
                  <a:pt x="103" y="347"/>
                </a:lnTo>
                <a:close/>
                <a:moveTo>
                  <a:pt x="104" y="359"/>
                </a:moveTo>
                <a:cubicBezTo>
                  <a:pt x="103" y="358"/>
                  <a:pt x="103" y="358"/>
                  <a:pt x="103" y="358"/>
                </a:cubicBezTo>
                <a:cubicBezTo>
                  <a:pt x="104" y="358"/>
                  <a:pt x="104" y="358"/>
                  <a:pt x="104" y="358"/>
                </a:cubicBezTo>
                <a:cubicBezTo>
                  <a:pt x="104" y="357"/>
                  <a:pt x="104" y="357"/>
                  <a:pt x="104" y="357"/>
                </a:cubicBezTo>
                <a:cubicBezTo>
                  <a:pt x="104" y="357"/>
                  <a:pt x="104" y="357"/>
                  <a:pt x="104" y="357"/>
                </a:cubicBezTo>
                <a:cubicBezTo>
                  <a:pt x="105" y="356"/>
                  <a:pt x="105" y="356"/>
                  <a:pt x="105" y="356"/>
                </a:cubicBezTo>
                <a:cubicBezTo>
                  <a:pt x="105" y="357"/>
                  <a:pt x="105" y="357"/>
                  <a:pt x="105" y="357"/>
                </a:cubicBezTo>
                <a:cubicBezTo>
                  <a:pt x="105" y="358"/>
                  <a:pt x="105" y="358"/>
                  <a:pt x="105" y="358"/>
                </a:cubicBezTo>
                <a:cubicBezTo>
                  <a:pt x="105" y="359"/>
                  <a:pt x="105" y="359"/>
                  <a:pt x="105" y="359"/>
                </a:cubicBezTo>
                <a:cubicBezTo>
                  <a:pt x="105" y="360"/>
                  <a:pt x="105" y="360"/>
                  <a:pt x="105" y="360"/>
                </a:cubicBezTo>
                <a:cubicBezTo>
                  <a:pt x="105" y="360"/>
                  <a:pt x="105" y="360"/>
                  <a:pt x="105" y="360"/>
                </a:cubicBezTo>
                <a:lnTo>
                  <a:pt x="104" y="359"/>
                </a:lnTo>
                <a:close/>
                <a:moveTo>
                  <a:pt x="106" y="368"/>
                </a:moveTo>
                <a:cubicBezTo>
                  <a:pt x="106" y="367"/>
                  <a:pt x="106" y="367"/>
                  <a:pt x="106" y="367"/>
                </a:cubicBezTo>
                <a:cubicBezTo>
                  <a:pt x="107" y="366"/>
                  <a:pt x="107" y="366"/>
                  <a:pt x="107" y="366"/>
                </a:cubicBezTo>
                <a:cubicBezTo>
                  <a:pt x="107" y="366"/>
                  <a:pt x="107" y="366"/>
                  <a:pt x="107" y="366"/>
                </a:cubicBezTo>
                <a:cubicBezTo>
                  <a:pt x="107" y="367"/>
                  <a:pt x="107" y="367"/>
                  <a:pt x="107" y="367"/>
                </a:cubicBezTo>
                <a:cubicBezTo>
                  <a:pt x="108" y="369"/>
                  <a:pt x="108" y="369"/>
                  <a:pt x="108" y="369"/>
                </a:cubicBezTo>
                <a:cubicBezTo>
                  <a:pt x="109" y="371"/>
                  <a:pt x="109" y="371"/>
                  <a:pt x="109" y="371"/>
                </a:cubicBezTo>
                <a:lnTo>
                  <a:pt x="106" y="368"/>
                </a:lnTo>
                <a:close/>
                <a:moveTo>
                  <a:pt x="108" y="349"/>
                </a:moveTo>
                <a:cubicBezTo>
                  <a:pt x="107" y="350"/>
                  <a:pt x="107" y="350"/>
                  <a:pt x="107" y="350"/>
                </a:cubicBezTo>
                <a:cubicBezTo>
                  <a:pt x="107" y="348"/>
                  <a:pt x="107" y="348"/>
                  <a:pt x="107" y="348"/>
                </a:cubicBezTo>
                <a:cubicBezTo>
                  <a:pt x="107" y="347"/>
                  <a:pt x="107" y="347"/>
                  <a:pt x="107" y="347"/>
                </a:cubicBezTo>
                <a:cubicBezTo>
                  <a:pt x="108" y="348"/>
                  <a:pt x="108" y="348"/>
                  <a:pt x="108" y="348"/>
                </a:cubicBezTo>
                <a:lnTo>
                  <a:pt x="108" y="349"/>
                </a:lnTo>
                <a:close/>
                <a:moveTo>
                  <a:pt x="109" y="354"/>
                </a:moveTo>
                <a:cubicBezTo>
                  <a:pt x="111" y="354"/>
                  <a:pt x="111" y="354"/>
                  <a:pt x="111" y="354"/>
                </a:cubicBezTo>
                <a:cubicBezTo>
                  <a:pt x="112" y="354"/>
                  <a:pt x="112" y="354"/>
                  <a:pt x="112" y="354"/>
                </a:cubicBezTo>
                <a:cubicBezTo>
                  <a:pt x="111" y="354"/>
                  <a:pt x="111" y="354"/>
                  <a:pt x="111" y="354"/>
                </a:cubicBezTo>
                <a:cubicBezTo>
                  <a:pt x="110" y="355"/>
                  <a:pt x="110" y="355"/>
                  <a:pt x="110" y="355"/>
                </a:cubicBezTo>
                <a:cubicBezTo>
                  <a:pt x="110" y="356"/>
                  <a:pt x="110" y="356"/>
                  <a:pt x="110" y="356"/>
                </a:cubicBezTo>
                <a:cubicBezTo>
                  <a:pt x="108" y="354"/>
                  <a:pt x="108" y="354"/>
                  <a:pt x="108" y="354"/>
                </a:cubicBezTo>
                <a:lnTo>
                  <a:pt x="109" y="354"/>
                </a:lnTo>
                <a:close/>
                <a:moveTo>
                  <a:pt x="111" y="371"/>
                </a:moveTo>
                <a:cubicBezTo>
                  <a:pt x="111" y="371"/>
                  <a:pt x="111" y="371"/>
                  <a:pt x="111" y="371"/>
                </a:cubicBezTo>
                <a:cubicBezTo>
                  <a:pt x="111" y="371"/>
                  <a:pt x="111" y="371"/>
                  <a:pt x="111" y="371"/>
                </a:cubicBezTo>
                <a:cubicBezTo>
                  <a:pt x="111" y="371"/>
                  <a:pt x="111" y="371"/>
                  <a:pt x="111" y="371"/>
                </a:cubicBezTo>
                <a:cubicBezTo>
                  <a:pt x="111" y="370"/>
                  <a:pt x="111" y="370"/>
                  <a:pt x="111" y="370"/>
                </a:cubicBezTo>
                <a:cubicBezTo>
                  <a:pt x="109" y="367"/>
                  <a:pt x="109" y="367"/>
                  <a:pt x="109" y="367"/>
                </a:cubicBezTo>
                <a:cubicBezTo>
                  <a:pt x="112" y="369"/>
                  <a:pt x="112" y="369"/>
                  <a:pt x="112" y="369"/>
                </a:cubicBezTo>
                <a:lnTo>
                  <a:pt x="111" y="371"/>
                </a:lnTo>
                <a:close/>
                <a:moveTo>
                  <a:pt x="110" y="362"/>
                </a:moveTo>
                <a:cubicBezTo>
                  <a:pt x="110" y="362"/>
                  <a:pt x="110" y="362"/>
                  <a:pt x="110" y="362"/>
                </a:cubicBezTo>
                <a:cubicBezTo>
                  <a:pt x="109" y="362"/>
                  <a:pt x="109" y="362"/>
                  <a:pt x="109" y="362"/>
                </a:cubicBezTo>
                <a:cubicBezTo>
                  <a:pt x="108" y="362"/>
                  <a:pt x="108" y="362"/>
                  <a:pt x="108" y="362"/>
                </a:cubicBezTo>
                <a:cubicBezTo>
                  <a:pt x="108" y="362"/>
                  <a:pt x="108" y="362"/>
                  <a:pt x="108" y="362"/>
                </a:cubicBezTo>
                <a:cubicBezTo>
                  <a:pt x="108" y="362"/>
                  <a:pt x="108" y="362"/>
                  <a:pt x="108" y="362"/>
                </a:cubicBezTo>
                <a:cubicBezTo>
                  <a:pt x="108" y="362"/>
                  <a:pt x="108" y="362"/>
                  <a:pt x="108" y="362"/>
                </a:cubicBezTo>
                <a:cubicBezTo>
                  <a:pt x="109" y="361"/>
                  <a:pt x="109" y="361"/>
                  <a:pt x="109" y="361"/>
                </a:cubicBezTo>
                <a:cubicBezTo>
                  <a:pt x="109" y="361"/>
                  <a:pt x="109" y="361"/>
                  <a:pt x="109" y="361"/>
                </a:cubicBezTo>
                <a:cubicBezTo>
                  <a:pt x="110" y="360"/>
                  <a:pt x="110" y="360"/>
                  <a:pt x="110" y="360"/>
                </a:cubicBezTo>
                <a:cubicBezTo>
                  <a:pt x="110" y="360"/>
                  <a:pt x="110" y="360"/>
                  <a:pt x="110" y="360"/>
                </a:cubicBezTo>
                <a:cubicBezTo>
                  <a:pt x="110" y="360"/>
                  <a:pt x="110" y="360"/>
                  <a:pt x="110" y="360"/>
                </a:cubicBezTo>
                <a:cubicBezTo>
                  <a:pt x="112" y="362"/>
                  <a:pt x="112" y="362"/>
                  <a:pt x="112" y="362"/>
                </a:cubicBezTo>
                <a:lnTo>
                  <a:pt x="110" y="362"/>
                </a:lnTo>
                <a:close/>
                <a:moveTo>
                  <a:pt x="111" y="347"/>
                </a:moveTo>
                <a:cubicBezTo>
                  <a:pt x="112" y="346"/>
                  <a:pt x="112" y="346"/>
                  <a:pt x="112" y="346"/>
                </a:cubicBezTo>
                <a:cubicBezTo>
                  <a:pt x="112" y="345"/>
                  <a:pt x="112" y="345"/>
                  <a:pt x="112" y="345"/>
                </a:cubicBezTo>
                <a:cubicBezTo>
                  <a:pt x="112" y="346"/>
                  <a:pt x="112" y="346"/>
                  <a:pt x="112" y="346"/>
                </a:cubicBezTo>
                <a:cubicBezTo>
                  <a:pt x="112" y="348"/>
                  <a:pt x="112" y="348"/>
                  <a:pt x="112" y="348"/>
                </a:cubicBezTo>
                <a:lnTo>
                  <a:pt x="111" y="347"/>
                </a:lnTo>
                <a:close/>
                <a:moveTo>
                  <a:pt x="116" y="373"/>
                </a:moveTo>
                <a:cubicBezTo>
                  <a:pt x="114" y="373"/>
                  <a:pt x="114" y="373"/>
                  <a:pt x="114" y="373"/>
                </a:cubicBezTo>
                <a:cubicBezTo>
                  <a:pt x="114" y="373"/>
                  <a:pt x="114" y="373"/>
                  <a:pt x="114" y="373"/>
                </a:cubicBezTo>
                <a:cubicBezTo>
                  <a:pt x="113" y="373"/>
                  <a:pt x="113" y="373"/>
                  <a:pt x="113" y="373"/>
                </a:cubicBezTo>
                <a:cubicBezTo>
                  <a:pt x="113" y="372"/>
                  <a:pt x="113" y="372"/>
                  <a:pt x="113" y="372"/>
                </a:cubicBezTo>
                <a:cubicBezTo>
                  <a:pt x="113" y="372"/>
                  <a:pt x="113" y="372"/>
                  <a:pt x="113" y="372"/>
                </a:cubicBezTo>
                <a:cubicBezTo>
                  <a:pt x="113" y="370"/>
                  <a:pt x="113" y="370"/>
                  <a:pt x="113" y="370"/>
                </a:cubicBezTo>
                <a:cubicBezTo>
                  <a:pt x="114" y="371"/>
                  <a:pt x="114" y="371"/>
                  <a:pt x="114" y="371"/>
                </a:cubicBezTo>
                <a:cubicBezTo>
                  <a:pt x="117" y="373"/>
                  <a:pt x="117" y="373"/>
                  <a:pt x="117" y="373"/>
                </a:cubicBezTo>
                <a:lnTo>
                  <a:pt x="116" y="373"/>
                </a:lnTo>
                <a:close/>
                <a:moveTo>
                  <a:pt x="114" y="355"/>
                </a:moveTo>
                <a:cubicBezTo>
                  <a:pt x="116" y="358"/>
                  <a:pt x="116" y="358"/>
                  <a:pt x="116" y="358"/>
                </a:cubicBezTo>
                <a:cubicBezTo>
                  <a:pt x="116" y="358"/>
                  <a:pt x="116" y="358"/>
                  <a:pt x="116" y="358"/>
                </a:cubicBezTo>
                <a:cubicBezTo>
                  <a:pt x="115" y="360"/>
                  <a:pt x="115" y="360"/>
                  <a:pt x="115" y="360"/>
                </a:cubicBezTo>
                <a:cubicBezTo>
                  <a:pt x="114" y="360"/>
                  <a:pt x="114" y="360"/>
                  <a:pt x="114" y="360"/>
                </a:cubicBezTo>
                <a:cubicBezTo>
                  <a:pt x="114" y="359"/>
                  <a:pt x="114" y="359"/>
                  <a:pt x="114" y="359"/>
                </a:cubicBezTo>
                <a:cubicBezTo>
                  <a:pt x="114" y="357"/>
                  <a:pt x="114" y="357"/>
                  <a:pt x="114" y="357"/>
                </a:cubicBezTo>
                <a:lnTo>
                  <a:pt x="114" y="355"/>
                </a:lnTo>
                <a:close/>
                <a:moveTo>
                  <a:pt x="120" y="355"/>
                </a:moveTo>
                <a:cubicBezTo>
                  <a:pt x="120" y="355"/>
                  <a:pt x="120" y="355"/>
                  <a:pt x="120" y="355"/>
                </a:cubicBezTo>
                <a:cubicBezTo>
                  <a:pt x="120" y="357"/>
                  <a:pt x="120" y="357"/>
                  <a:pt x="120" y="357"/>
                </a:cubicBezTo>
                <a:cubicBezTo>
                  <a:pt x="120" y="359"/>
                  <a:pt x="120" y="359"/>
                  <a:pt x="120" y="359"/>
                </a:cubicBezTo>
                <a:cubicBezTo>
                  <a:pt x="120" y="360"/>
                  <a:pt x="120" y="360"/>
                  <a:pt x="120" y="360"/>
                </a:cubicBezTo>
                <a:cubicBezTo>
                  <a:pt x="118" y="358"/>
                  <a:pt x="118" y="358"/>
                  <a:pt x="118" y="358"/>
                </a:cubicBezTo>
                <a:cubicBezTo>
                  <a:pt x="119" y="357"/>
                  <a:pt x="119" y="357"/>
                  <a:pt x="119" y="357"/>
                </a:cubicBezTo>
                <a:cubicBezTo>
                  <a:pt x="120" y="356"/>
                  <a:pt x="120" y="356"/>
                  <a:pt x="120" y="356"/>
                </a:cubicBezTo>
                <a:cubicBezTo>
                  <a:pt x="120" y="355"/>
                  <a:pt x="120" y="355"/>
                  <a:pt x="120" y="355"/>
                </a:cubicBezTo>
                <a:close/>
                <a:moveTo>
                  <a:pt x="120" y="345"/>
                </a:moveTo>
                <a:cubicBezTo>
                  <a:pt x="120" y="345"/>
                  <a:pt x="120" y="345"/>
                  <a:pt x="120" y="345"/>
                </a:cubicBezTo>
                <a:cubicBezTo>
                  <a:pt x="120" y="345"/>
                  <a:pt x="120" y="345"/>
                  <a:pt x="120" y="345"/>
                </a:cubicBezTo>
                <a:cubicBezTo>
                  <a:pt x="120" y="347"/>
                  <a:pt x="120" y="347"/>
                  <a:pt x="120" y="347"/>
                </a:cubicBezTo>
                <a:cubicBezTo>
                  <a:pt x="120" y="349"/>
                  <a:pt x="120" y="349"/>
                  <a:pt x="120" y="349"/>
                </a:cubicBezTo>
                <a:cubicBezTo>
                  <a:pt x="119" y="346"/>
                  <a:pt x="119" y="346"/>
                  <a:pt x="119" y="346"/>
                </a:cubicBezTo>
                <a:cubicBezTo>
                  <a:pt x="119" y="346"/>
                  <a:pt x="119" y="346"/>
                  <a:pt x="119" y="346"/>
                </a:cubicBezTo>
                <a:lnTo>
                  <a:pt x="120" y="345"/>
                </a:lnTo>
                <a:close/>
                <a:moveTo>
                  <a:pt x="117" y="343"/>
                </a:moveTo>
                <a:cubicBezTo>
                  <a:pt x="119" y="343"/>
                  <a:pt x="119" y="343"/>
                  <a:pt x="119" y="343"/>
                </a:cubicBezTo>
                <a:cubicBezTo>
                  <a:pt x="118" y="344"/>
                  <a:pt x="118" y="344"/>
                  <a:pt x="118" y="344"/>
                </a:cubicBezTo>
                <a:cubicBezTo>
                  <a:pt x="118" y="345"/>
                  <a:pt x="118" y="345"/>
                  <a:pt x="118" y="345"/>
                </a:cubicBezTo>
                <a:cubicBezTo>
                  <a:pt x="117" y="343"/>
                  <a:pt x="117" y="343"/>
                  <a:pt x="117" y="343"/>
                </a:cubicBezTo>
                <a:close/>
                <a:moveTo>
                  <a:pt x="118" y="353"/>
                </a:moveTo>
                <a:cubicBezTo>
                  <a:pt x="119" y="353"/>
                  <a:pt x="119" y="353"/>
                  <a:pt x="119" y="353"/>
                </a:cubicBezTo>
                <a:cubicBezTo>
                  <a:pt x="119" y="354"/>
                  <a:pt x="119" y="354"/>
                  <a:pt x="119" y="354"/>
                </a:cubicBezTo>
                <a:cubicBezTo>
                  <a:pt x="118" y="355"/>
                  <a:pt x="118" y="355"/>
                  <a:pt x="118" y="355"/>
                </a:cubicBezTo>
                <a:cubicBezTo>
                  <a:pt x="117" y="356"/>
                  <a:pt x="117" y="356"/>
                  <a:pt x="117" y="356"/>
                </a:cubicBezTo>
                <a:cubicBezTo>
                  <a:pt x="117" y="356"/>
                  <a:pt x="117" y="356"/>
                  <a:pt x="117" y="356"/>
                </a:cubicBezTo>
                <a:cubicBezTo>
                  <a:pt x="117" y="356"/>
                  <a:pt x="117" y="356"/>
                  <a:pt x="117" y="356"/>
                </a:cubicBezTo>
                <a:cubicBezTo>
                  <a:pt x="115" y="354"/>
                  <a:pt x="115" y="354"/>
                  <a:pt x="115" y="354"/>
                </a:cubicBezTo>
                <a:cubicBezTo>
                  <a:pt x="117" y="353"/>
                  <a:pt x="117" y="353"/>
                  <a:pt x="117" y="353"/>
                </a:cubicBezTo>
                <a:lnTo>
                  <a:pt x="118" y="353"/>
                </a:lnTo>
                <a:close/>
                <a:moveTo>
                  <a:pt x="116" y="347"/>
                </a:moveTo>
                <a:cubicBezTo>
                  <a:pt x="116" y="347"/>
                  <a:pt x="116" y="347"/>
                  <a:pt x="116" y="347"/>
                </a:cubicBezTo>
                <a:cubicBezTo>
                  <a:pt x="116" y="348"/>
                  <a:pt x="116" y="348"/>
                  <a:pt x="116" y="348"/>
                </a:cubicBezTo>
                <a:cubicBezTo>
                  <a:pt x="115" y="349"/>
                  <a:pt x="115" y="349"/>
                  <a:pt x="115" y="349"/>
                </a:cubicBezTo>
                <a:cubicBezTo>
                  <a:pt x="115" y="349"/>
                  <a:pt x="115" y="349"/>
                  <a:pt x="115" y="349"/>
                </a:cubicBezTo>
                <a:cubicBezTo>
                  <a:pt x="114" y="348"/>
                  <a:pt x="114" y="348"/>
                  <a:pt x="114" y="348"/>
                </a:cubicBezTo>
                <a:cubicBezTo>
                  <a:pt x="114" y="348"/>
                  <a:pt x="114" y="348"/>
                  <a:pt x="114" y="348"/>
                </a:cubicBezTo>
                <a:cubicBezTo>
                  <a:pt x="114" y="347"/>
                  <a:pt x="114" y="347"/>
                  <a:pt x="114" y="347"/>
                </a:cubicBezTo>
                <a:cubicBezTo>
                  <a:pt x="114" y="346"/>
                  <a:pt x="114" y="346"/>
                  <a:pt x="114" y="346"/>
                </a:cubicBezTo>
                <a:cubicBezTo>
                  <a:pt x="114" y="345"/>
                  <a:pt x="114" y="345"/>
                  <a:pt x="114" y="345"/>
                </a:cubicBezTo>
                <a:lnTo>
                  <a:pt x="116" y="347"/>
                </a:lnTo>
                <a:close/>
                <a:moveTo>
                  <a:pt x="110" y="336"/>
                </a:moveTo>
                <a:cubicBezTo>
                  <a:pt x="111" y="336"/>
                  <a:pt x="111" y="336"/>
                  <a:pt x="111" y="336"/>
                </a:cubicBezTo>
                <a:cubicBezTo>
                  <a:pt x="111" y="336"/>
                  <a:pt x="112" y="337"/>
                  <a:pt x="112" y="338"/>
                </a:cubicBezTo>
                <a:cubicBezTo>
                  <a:pt x="113" y="339"/>
                  <a:pt x="113" y="340"/>
                  <a:pt x="114" y="341"/>
                </a:cubicBezTo>
                <a:cubicBezTo>
                  <a:pt x="113" y="341"/>
                  <a:pt x="113" y="341"/>
                  <a:pt x="113" y="341"/>
                </a:cubicBezTo>
                <a:cubicBezTo>
                  <a:pt x="113" y="341"/>
                  <a:pt x="113" y="341"/>
                  <a:pt x="113" y="341"/>
                </a:cubicBezTo>
                <a:cubicBezTo>
                  <a:pt x="113" y="341"/>
                  <a:pt x="113" y="341"/>
                  <a:pt x="113" y="341"/>
                </a:cubicBezTo>
                <a:cubicBezTo>
                  <a:pt x="113" y="341"/>
                  <a:pt x="113" y="341"/>
                  <a:pt x="113" y="341"/>
                </a:cubicBezTo>
                <a:cubicBezTo>
                  <a:pt x="110" y="341"/>
                  <a:pt x="110" y="341"/>
                  <a:pt x="110" y="341"/>
                </a:cubicBezTo>
                <a:cubicBezTo>
                  <a:pt x="109" y="341"/>
                  <a:pt x="109" y="341"/>
                  <a:pt x="109" y="341"/>
                </a:cubicBezTo>
                <a:cubicBezTo>
                  <a:pt x="108" y="341"/>
                  <a:pt x="108" y="341"/>
                  <a:pt x="108" y="341"/>
                </a:cubicBezTo>
                <a:cubicBezTo>
                  <a:pt x="107" y="341"/>
                  <a:pt x="107" y="341"/>
                  <a:pt x="107" y="341"/>
                </a:cubicBezTo>
                <a:cubicBezTo>
                  <a:pt x="106" y="341"/>
                  <a:pt x="106" y="341"/>
                  <a:pt x="106" y="341"/>
                </a:cubicBezTo>
                <a:cubicBezTo>
                  <a:pt x="106" y="341"/>
                  <a:pt x="106" y="341"/>
                  <a:pt x="106" y="341"/>
                </a:cubicBezTo>
                <a:cubicBezTo>
                  <a:pt x="106" y="341"/>
                  <a:pt x="106" y="341"/>
                  <a:pt x="106" y="341"/>
                </a:cubicBezTo>
                <a:cubicBezTo>
                  <a:pt x="105" y="341"/>
                  <a:pt x="105" y="341"/>
                  <a:pt x="105" y="341"/>
                </a:cubicBezTo>
                <a:cubicBezTo>
                  <a:pt x="104" y="341"/>
                  <a:pt x="104" y="341"/>
                  <a:pt x="104" y="341"/>
                </a:cubicBezTo>
                <a:cubicBezTo>
                  <a:pt x="104" y="341"/>
                  <a:pt x="104" y="341"/>
                  <a:pt x="104" y="341"/>
                </a:cubicBezTo>
                <a:cubicBezTo>
                  <a:pt x="106" y="340"/>
                  <a:pt x="106" y="340"/>
                  <a:pt x="106" y="340"/>
                </a:cubicBezTo>
                <a:cubicBezTo>
                  <a:pt x="106" y="339"/>
                  <a:pt x="106" y="339"/>
                  <a:pt x="106" y="339"/>
                </a:cubicBezTo>
                <a:cubicBezTo>
                  <a:pt x="107" y="339"/>
                  <a:pt x="107" y="339"/>
                  <a:pt x="107" y="339"/>
                </a:cubicBezTo>
                <a:cubicBezTo>
                  <a:pt x="107" y="338"/>
                  <a:pt x="107" y="338"/>
                  <a:pt x="107" y="338"/>
                </a:cubicBezTo>
                <a:cubicBezTo>
                  <a:pt x="109" y="337"/>
                  <a:pt x="109" y="337"/>
                  <a:pt x="109" y="337"/>
                </a:cubicBezTo>
                <a:lnTo>
                  <a:pt x="110" y="336"/>
                </a:lnTo>
                <a:close/>
                <a:moveTo>
                  <a:pt x="102" y="320"/>
                </a:moveTo>
                <a:cubicBezTo>
                  <a:pt x="103" y="319"/>
                  <a:pt x="103" y="319"/>
                  <a:pt x="103" y="319"/>
                </a:cubicBezTo>
                <a:cubicBezTo>
                  <a:pt x="104" y="320"/>
                  <a:pt x="104" y="321"/>
                  <a:pt x="105" y="322"/>
                </a:cubicBezTo>
                <a:cubicBezTo>
                  <a:pt x="105" y="324"/>
                  <a:pt x="106" y="325"/>
                  <a:pt x="106" y="326"/>
                </a:cubicBezTo>
                <a:cubicBezTo>
                  <a:pt x="107" y="327"/>
                  <a:pt x="107" y="328"/>
                  <a:pt x="108" y="329"/>
                </a:cubicBezTo>
                <a:cubicBezTo>
                  <a:pt x="108" y="330"/>
                  <a:pt x="108" y="330"/>
                  <a:pt x="109" y="331"/>
                </a:cubicBezTo>
                <a:cubicBezTo>
                  <a:pt x="109" y="332"/>
                  <a:pt x="109" y="332"/>
                  <a:pt x="109" y="332"/>
                </a:cubicBezTo>
                <a:cubicBezTo>
                  <a:pt x="103" y="329"/>
                  <a:pt x="103" y="329"/>
                  <a:pt x="103" y="329"/>
                </a:cubicBezTo>
                <a:cubicBezTo>
                  <a:pt x="98" y="327"/>
                  <a:pt x="98" y="327"/>
                  <a:pt x="98" y="327"/>
                </a:cubicBezTo>
                <a:cubicBezTo>
                  <a:pt x="95" y="326"/>
                  <a:pt x="95" y="326"/>
                  <a:pt x="95" y="326"/>
                </a:cubicBezTo>
                <a:cubicBezTo>
                  <a:pt x="96" y="325"/>
                  <a:pt x="96" y="325"/>
                  <a:pt x="96" y="325"/>
                </a:cubicBezTo>
                <a:cubicBezTo>
                  <a:pt x="97" y="324"/>
                  <a:pt x="97" y="324"/>
                  <a:pt x="97" y="324"/>
                </a:cubicBezTo>
                <a:cubicBezTo>
                  <a:pt x="99" y="322"/>
                  <a:pt x="99" y="322"/>
                  <a:pt x="99" y="322"/>
                </a:cubicBezTo>
                <a:cubicBezTo>
                  <a:pt x="100" y="322"/>
                  <a:pt x="100" y="322"/>
                  <a:pt x="100" y="322"/>
                </a:cubicBezTo>
                <a:cubicBezTo>
                  <a:pt x="101" y="321"/>
                  <a:pt x="101" y="321"/>
                  <a:pt x="101" y="321"/>
                </a:cubicBezTo>
                <a:lnTo>
                  <a:pt x="102" y="320"/>
                </a:lnTo>
                <a:close/>
                <a:moveTo>
                  <a:pt x="97" y="303"/>
                </a:moveTo>
                <a:cubicBezTo>
                  <a:pt x="97" y="303"/>
                  <a:pt x="97" y="303"/>
                  <a:pt x="97" y="303"/>
                </a:cubicBezTo>
                <a:cubicBezTo>
                  <a:pt x="98" y="304"/>
                  <a:pt x="98" y="305"/>
                  <a:pt x="98" y="306"/>
                </a:cubicBezTo>
                <a:cubicBezTo>
                  <a:pt x="98" y="306"/>
                  <a:pt x="99" y="307"/>
                  <a:pt x="99" y="307"/>
                </a:cubicBezTo>
                <a:cubicBezTo>
                  <a:pt x="99" y="308"/>
                  <a:pt x="99" y="308"/>
                  <a:pt x="99" y="308"/>
                </a:cubicBezTo>
                <a:cubicBezTo>
                  <a:pt x="99" y="308"/>
                  <a:pt x="99" y="308"/>
                  <a:pt x="99" y="308"/>
                </a:cubicBezTo>
                <a:cubicBezTo>
                  <a:pt x="99" y="309"/>
                  <a:pt x="100" y="310"/>
                  <a:pt x="100" y="311"/>
                </a:cubicBezTo>
                <a:cubicBezTo>
                  <a:pt x="100" y="312"/>
                  <a:pt x="101" y="313"/>
                  <a:pt x="101" y="314"/>
                </a:cubicBezTo>
                <a:cubicBezTo>
                  <a:pt x="102" y="316"/>
                  <a:pt x="102" y="316"/>
                  <a:pt x="102" y="316"/>
                </a:cubicBezTo>
                <a:cubicBezTo>
                  <a:pt x="96" y="312"/>
                  <a:pt x="96" y="312"/>
                  <a:pt x="96" y="312"/>
                </a:cubicBezTo>
                <a:cubicBezTo>
                  <a:pt x="90" y="309"/>
                  <a:pt x="90" y="309"/>
                  <a:pt x="90" y="309"/>
                </a:cubicBezTo>
                <a:cubicBezTo>
                  <a:pt x="90" y="309"/>
                  <a:pt x="90" y="309"/>
                  <a:pt x="90" y="309"/>
                </a:cubicBezTo>
                <a:cubicBezTo>
                  <a:pt x="90" y="309"/>
                  <a:pt x="90" y="309"/>
                  <a:pt x="90" y="309"/>
                </a:cubicBezTo>
                <a:cubicBezTo>
                  <a:pt x="91" y="308"/>
                  <a:pt x="91" y="308"/>
                  <a:pt x="91" y="308"/>
                </a:cubicBezTo>
                <a:cubicBezTo>
                  <a:pt x="93" y="306"/>
                  <a:pt x="93" y="306"/>
                  <a:pt x="93" y="306"/>
                </a:cubicBezTo>
                <a:cubicBezTo>
                  <a:pt x="94" y="305"/>
                  <a:pt x="94" y="305"/>
                  <a:pt x="94" y="305"/>
                </a:cubicBezTo>
                <a:cubicBezTo>
                  <a:pt x="95" y="304"/>
                  <a:pt x="95" y="304"/>
                  <a:pt x="95" y="304"/>
                </a:cubicBezTo>
                <a:cubicBezTo>
                  <a:pt x="95" y="304"/>
                  <a:pt x="95" y="304"/>
                  <a:pt x="95" y="304"/>
                </a:cubicBezTo>
                <a:cubicBezTo>
                  <a:pt x="95" y="304"/>
                  <a:pt x="95" y="304"/>
                  <a:pt x="95" y="304"/>
                </a:cubicBezTo>
                <a:cubicBezTo>
                  <a:pt x="96" y="304"/>
                  <a:pt x="96" y="304"/>
                  <a:pt x="96" y="304"/>
                </a:cubicBezTo>
                <a:cubicBezTo>
                  <a:pt x="97" y="303"/>
                  <a:pt x="97" y="303"/>
                  <a:pt x="97" y="303"/>
                </a:cubicBezTo>
                <a:close/>
                <a:moveTo>
                  <a:pt x="93" y="288"/>
                </a:moveTo>
                <a:cubicBezTo>
                  <a:pt x="93" y="290"/>
                  <a:pt x="94" y="293"/>
                  <a:pt x="95" y="295"/>
                </a:cubicBezTo>
                <a:cubicBezTo>
                  <a:pt x="95" y="296"/>
                  <a:pt x="96" y="298"/>
                  <a:pt x="96" y="299"/>
                </a:cubicBezTo>
                <a:cubicBezTo>
                  <a:pt x="87" y="293"/>
                  <a:pt x="87" y="293"/>
                  <a:pt x="87" y="293"/>
                </a:cubicBezTo>
                <a:cubicBezTo>
                  <a:pt x="86" y="293"/>
                  <a:pt x="86" y="293"/>
                  <a:pt x="86" y="293"/>
                </a:cubicBezTo>
                <a:cubicBezTo>
                  <a:pt x="86" y="293"/>
                  <a:pt x="86" y="293"/>
                  <a:pt x="86" y="293"/>
                </a:cubicBezTo>
                <a:cubicBezTo>
                  <a:pt x="90" y="290"/>
                  <a:pt x="90" y="290"/>
                  <a:pt x="90" y="290"/>
                </a:cubicBezTo>
                <a:lnTo>
                  <a:pt x="93" y="288"/>
                </a:lnTo>
                <a:close/>
                <a:moveTo>
                  <a:pt x="92" y="264"/>
                </a:moveTo>
                <a:cubicBezTo>
                  <a:pt x="94" y="264"/>
                  <a:pt x="94" y="264"/>
                  <a:pt x="94" y="264"/>
                </a:cubicBezTo>
                <a:cubicBezTo>
                  <a:pt x="94" y="265"/>
                  <a:pt x="94" y="265"/>
                  <a:pt x="94" y="265"/>
                </a:cubicBezTo>
                <a:cubicBezTo>
                  <a:pt x="93" y="269"/>
                  <a:pt x="93" y="269"/>
                  <a:pt x="93" y="269"/>
                </a:cubicBezTo>
                <a:cubicBezTo>
                  <a:pt x="91" y="274"/>
                  <a:pt x="91" y="274"/>
                  <a:pt x="91" y="274"/>
                </a:cubicBezTo>
                <a:cubicBezTo>
                  <a:pt x="91" y="274"/>
                  <a:pt x="91" y="274"/>
                  <a:pt x="91" y="274"/>
                </a:cubicBezTo>
                <a:cubicBezTo>
                  <a:pt x="91" y="274"/>
                  <a:pt x="91" y="274"/>
                  <a:pt x="91" y="274"/>
                </a:cubicBezTo>
                <a:cubicBezTo>
                  <a:pt x="91" y="272"/>
                  <a:pt x="91" y="271"/>
                  <a:pt x="90" y="269"/>
                </a:cubicBezTo>
                <a:cubicBezTo>
                  <a:pt x="90" y="269"/>
                  <a:pt x="90" y="269"/>
                  <a:pt x="90" y="268"/>
                </a:cubicBezTo>
                <a:cubicBezTo>
                  <a:pt x="90" y="268"/>
                  <a:pt x="90" y="267"/>
                  <a:pt x="90" y="266"/>
                </a:cubicBezTo>
                <a:cubicBezTo>
                  <a:pt x="89" y="265"/>
                  <a:pt x="89" y="265"/>
                  <a:pt x="89" y="264"/>
                </a:cubicBezTo>
                <a:lnTo>
                  <a:pt x="92" y="264"/>
                </a:lnTo>
                <a:close/>
                <a:moveTo>
                  <a:pt x="89" y="272"/>
                </a:moveTo>
                <a:cubicBezTo>
                  <a:pt x="89" y="272"/>
                  <a:pt x="89" y="272"/>
                  <a:pt x="89" y="272"/>
                </a:cubicBezTo>
                <a:cubicBezTo>
                  <a:pt x="89" y="272"/>
                  <a:pt x="89" y="272"/>
                  <a:pt x="89" y="272"/>
                </a:cubicBezTo>
                <a:cubicBezTo>
                  <a:pt x="89" y="273"/>
                  <a:pt x="89" y="274"/>
                  <a:pt x="90" y="275"/>
                </a:cubicBezTo>
                <a:cubicBezTo>
                  <a:pt x="90" y="276"/>
                  <a:pt x="90" y="277"/>
                  <a:pt x="90" y="278"/>
                </a:cubicBezTo>
                <a:cubicBezTo>
                  <a:pt x="87" y="275"/>
                  <a:pt x="87" y="275"/>
                  <a:pt x="87" y="275"/>
                </a:cubicBezTo>
                <a:cubicBezTo>
                  <a:pt x="88" y="273"/>
                  <a:pt x="88" y="273"/>
                  <a:pt x="88" y="273"/>
                </a:cubicBezTo>
                <a:lnTo>
                  <a:pt x="89" y="272"/>
                </a:lnTo>
                <a:close/>
                <a:moveTo>
                  <a:pt x="87" y="264"/>
                </a:moveTo>
                <a:cubicBezTo>
                  <a:pt x="87" y="264"/>
                  <a:pt x="87" y="264"/>
                  <a:pt x="87" y="264"/>
                </a:cubicBezTo>
                <a:cubicBezTo>
                  <a:pt x="88" y="265"/>
                  <a:pt x="88" y="267"/>
                  <a:pt x="88" y="268"/>
                </a:cubicBezTo>
                <a:cubicBezTo>
                  <a:pt x="85" y="268"/>
                  <a:pt x="85" y="268"/>
                  <a:pt x="85" y="268"/>
                </a:cubicBezTo>
                <a:cubicBezTo>
                  <a:pt x="82" y="268"/>
                  <a:pt x="82" y="268"/>
                  <a:pt x="82" y="268"/>
                </a:cubicBezTo>
                <a:cubicBezTo>
                  <a:pt x="73" y="268"/>
                  <a:pt x="73" y="268"/>
                  <a:pt x="73" y="268"/>
                </a:cubicBezTo>
                <a:cubicBezTo>
                  <a:pt x="72" y="268"/>
                  <a:pt x="72" y="268"/>
                  <a:pt x="72" y="268"/>
                </a:cubicBezTo>
                <a:cubicBezTo>
                  <a:pt x="72" y="268"/>
                  <a:pt x="72" y="268"/>
                  <a:pt x="72" y="268"/>
                </a:cubicBezTo>
                <a:cubicBezTo>
                  <a:pt x="72" y="266"/>
                  <a:pt x="72" y="265"/>
                  <a:pt x="72" y="264"/>
                </a:cubicBezTo>
                <a:cubicBezTo>
                  <a:pt x="78" y="264"/>
                  <a:pt x="78" y="264"/>
                  <a:pt x="78" y="264"/>
                </a:cubicBezTo>
                <a:cubicBezTo>
                  <a:pt x="81" y="264"/>
                  <a:pt x="81" y="264"/>
                  <a:pt x="81" y="264"/>
                </a:cubicBezTo>
                <a:cubicBezTo>
                  <a:pt x="87" y="264"/>
                  <a:pt x="87" y="264"/>
                  <a:pt x="87" y="264"/>
                </a:cubicBezTo>
                <a:close/>
                <a:moveTo>
                  <a:pt x="85" y="250"/>
                </a:moveTo>
                <a:cubicBezTo>
                  <a:pt x="85" y="252"/>
                  <a:pt x="85" y="254"/>
                  <a:pt x="86" y="256"/>
                </a:cubicBezTo>
                <a:cubicBezTo>
                  <a:pt x="86" y="258"/>
                  <a:pt x="86" y="258"/>
                  <a:pt x="86" y="258"/>
                </a:cubicBezTo>
                <a:cubicBezTo>
                  <a:pt x="87" y="260"/>
                  <a:pt x="87" y="260"/>
                  <a:pt x="87" y="260"/>
                </a:cubicBezTo>
                <a:cubicBezTo>
                  <a:pt x="86" y="260"/>
                  <a:pt x="86" y="260"/>
                  <a:pt x="86" y="260"/>
                </a:cubicBezTo>
                <a:cubicBezTo>
                  <a:pt x="80" y="255"/>
                  <a:pt x="80" y="255"/>
                  <a:pt x="80" y="255"/>
                </a:cubicBezTo>
                <a:cubicBezTo>
                  <a:pt x="82" y="254"/>
                  <a:pt x="82" y="254"/>
                  <a:pt x="82" y="254"/>
                </a:cubicBezTo>
                <a:cubicBezTo>
                  <a:pt x="82" y="253"/>
                  <a:pt x="82" y="253"/>
                  <a:pt x="82" y="253"/>
                </a:cubicBezTo>
                <a:lnTo>
                  <a:pt x="85" y="250"/>
                </a:lnTo>
                <a:close/>
                <a:moveTo>
                  <a:pt x="82" y="235"/>
                </a:moveTo>
                <a:cubicBezTo>
                  <a:pt x="82" y="234"/>
                  <a:pt x="82" y="234"/>
                  <a:pt x="82" y="234"/>
                </a:cubicBezTo>
                <a:cubicBezTo>
                  <a:pt x="82" y="235"/>
                  <a:pt x="82" y="235"/>
                  <a:pt x="82" y="235"/>
                </a:cubicBezTo>
                <a:cubicBezTo>
                  <a:pt x="83" y="236"/>
                  <a:pt x="83" y="237"/>
                  <a:pt x="83" y="238"/>
                </a:cubicBezTo>
                <a:cubicBezTo>
                  <a:pt x="83" y="241"/>
                  <a:pt x="84" y="243"/>
                  <a:pt x="84" y="245"/>
                </a:cubicBezTo>
                <a:cubicBezTo>
                  <a:pt x="84" y="246"/>
                  <a:pt x="84" y="246"/>
                  <a:pt x="84" y="246"/>
                </a:cubicBezTo>
                <a:cubicBezTo>
                  <a:pt x="78" y="240"/>
                  <a:pt x="78" y="240"/>
                  <a:pt x="78" y="240"/>
                </a:cubicBezTo>
                <a:cubicBezTo>
                  <a:pt x="78" y="239"/>
                  <a:pt x="78" y="239"/>
                  <a:pt x="78" y="239"/>
                </a:cubicBezTo>
                <a:cubicBezTo>
                  <a:pt x="81" y="236"/>
                  <a:pt x="81" y="236"/>
                  <a:pt x="81" y="236"/>
                </a:cubicBezTo>
                <a:lnTo>
                  <a:pt x="82" y="235"/>
                </a:lnTo>
                <a:close/>
                <a:moveTo>
                  <a:pt x="80" y="219"/>
                </a:moveTo>
                <a:cubicBezTo>
                  <a:pt x="80" y="219"/>
                  <a:pt x="80" y="219"/>
                  <a:pt x="80" y="219"/>
                </a:cubicBezTo>
                <a:cubicBezTo>
                  <a:pt x="80" y="219"/>
                  <a:pt x="80" y="219"/>
                  <a:pt x="80" y="219"/>
                </a:cubicBezTo>
                <a:cubicBezTo>
                  <a:pt x="80" y="220"/>
                  <a:pt x="81" y="221"/>
                  <a:pt x="81" y="222"/>
                </a:cubicBezTo>
                <a:cubicBezTo>
                  <a:pt x="81" y="225"/>
                  <a:pt x="81" y="227"/>
                  <a:pt x="82" y="229"/>
                </a:cubicBezTo>
                <a:cubicBezTo>
                  <a:pt x="82" y="229"/>
                  <a:pt x="82" y="229"/>
                  <a:pt x="82" y="229"/>
                </a:cubicBezTo>
                <a:cubicBezTo>
                  <a:pt x="81" y="228"/>
                  <a:pt x="81" y="228"/>
                  <a:pt x="81" y="228"/>
                </a:cubicBezTo>
                <a:cubicBezTo>
                  <a:pt x="76" y="224"/>
                  <a:pt x="76" y="224"/>
                  <a:pt x="76" y="224"/>
                </a:cubicBezTo>
                <a:cubicBezTo>
                  <a:pt x="79" y="221"/>
                  <a:pt x="79" y="221"/>
                  <a:pt x="79" y="221"/>
                </a:cubicBezTo>
                <a:lnTo>
                  <a:pt x="80" y="219"/>
                </a:lnTo>
                <a:close/>
                <a:moveTo>
                  <a:pt x="78" y="205"/>
                </a:moveTo>
                <a:cubicBezTo>
                  <a:pt x="79" y="205"/>
                  <a:pt x="79" y="205"/>
                  <a:pt x="79" y="205"/>
                </a:cubicBezTo>
                <a:cubicBezTo>
                  <a:pt x="79" y="205"/>
                  <a:pt x="79" y="205"/>
                  <a:pt x="79" y="205"/>
                </a:cubicBezTo>
                <a:cubicBezTo>
                  <a:pt x="79" y="206"/>
                  <a:pt x="79" y="208"/>
                  <a:pt x="79" y="209"/>
                </a:cubicBezTo>
                <a:cubicBezTo>
                  <a:pt x="79" y="211"/>
                  <a:pt x="79" y="212"/>
                  <a:pt x="80" y="214"/>
                </a:cubicBezTo>
                <a:cubicBezTo>
                  <a:pt x="75" y="209"/>
                  <a:pt x="75" y="209"/>
                  <a:pt x="75" y="209"/>
                </a:cubicBezTo>
                <a:cubicBezTo>
                  <a:pt x="77" y="207"/>
                  <a:pt x="77" y="207"/>
                  <a:pt x="77" y="207"/>
                </a:cubicBezTo>
                <a:lnTo>
                  <a:pt x="78" y="205"/>
                </a:lnTo>
                <a:close/>
                <a:moveTo>
                  <a:pt x="77" y="194"/>
                </a:moveTo>
                <a:cubicBezTo>
                  <a:pt x="77" y="193"/>
                  <a:pt x="77" y="193"/>
                  <a:pt x="77" y="193"/>
                </a:cubicBezTo>
                <a:cubicBezTo>
                  <a:pt x="78" y="195"/>
                  <a:pt x="78" y="195"/>
                  <a:pt x="78" y="195"/>
                </a:cubicBezTo>
                <a:cubicBezTo>
                  <a:pt x="78" y="197"/>
                  <a:pt x="78" y="197"/>
                  <a:pt x="78" y="197"/>
                </a:cubicBezTo>
                <a:cubicBezTo>
                  <a:pt x="78" y="200"/>
                  <a:pt x="78" y="200"/>
                  <a:pt x="78" y="200"/>
                </a:cubicBezTo>
                <a:cubicBezTo>
                  <a:pt x="74" y="197"/>
                  <a:pt x="74" y="197"/>
                  <a:pt x="74" y="197"/>
                </a:cubicBezTo>
                <a:cubicBezTo>
                  <a:pt x="76" y="195"/>
                  <a:pt x="76" y="195"/>
                  <a:pt x="76" y="195"/>
                </a:cubicBezTo>
                <a:lnTo>
                  <a:pt x="77" y="194"/>
                </a:lnTo>
                <a:close/>
                <a:moveTo>
                  <a:pt x="76" y="192"/>
                </a:moveTo>
                <a:cubicBezTo>
                  <a:pt x="75" y="193"/>
                  <a:pt x="75" y="193"/>
                  <a:pt x="75" y="193"/>
                </a:cubicBezTo>
                <a:cubicBezTo>
                  <a:pt x="74" y="194"/>
                  <a:pt x="74" y="194"/>
                  <a:pt x="74" y="194"/>
                </a:cubicBezTo>
                <a:cubicBezTo>
                  <a:pt x="73" y="195"/>
                  <a:pt x="73" y="195"/>
                  <a:pt x="73" y="195"/>
                </a:cubicBezTo>
                <a:cubicBezTo>
                  <a:pt x="69" y="192"/>
                  <a:pt x="69" y="192"/>
                  <a:pt x="69" y="192"/>
                </a:cubicBezTo>
                <a:cubicBezTo>
                  <a:pt x="73" y="192"/>
                  <a:pt x="73" y="192"/>
                  <a:pt x="73" y="192"/>
                </a:cubicBezTo>
                <a:cubicBezTo>
                  <a:pt x="74" y="192"/>
                  <a:pt x="74" y="192"/>
                  <a:pt x="74" y="192"/>
                </a:cubicBezTo>
                <a:lnTo>
                  <a:pt x="76" y="192"/>
                </a:lnTo>
                <a:close/>
                <a:moveTo>
                  <a:pt x="75" y="171"/>
                </a:moveTo>
                <a:cubicBezTo>
                  <a:pt x="75" y="173"/>
                  <a:pt x="75" y="173"/>
                  <a:pt x="75" y="173"/>
                </a:cubicBezTo>
                <a:cubicBezTo>
                  <a:pt x="76" y="177"/>
                  <a:pt x="76" y="177"/>
                  <a:pt x="76" y="177"/>
                </a:cubicBezTo>
                <a:cubicBezTo>
                  <a:pt x="76" y="178"/>
                  <a:pt x="76" y="178"/>
                  <a:pt x="76" y="178"/>
                </a:cubicBezTo>
                <a:cubicBezTo>
                  <a:pt x="73" y="174"/>
                  <a:pt x="73" y="174"/>
                  <a:pt x="73" y="174"/>
                </a:cubicBezTo>
                <a:cubicBezTo>
                  <a:pt x="73" y="174"/>
                  <a:pt x="73" y="174"/>
                  <a:pt x="73" y="174"/>
                </a:cubicBezTo>
                <a:cubicBezTo>
                  <a:pt x="75" y="172"/>
                  <a:pt x="75" y="172"/>
                  <a:pt x="75" y="172"/>
                </a:cubicBezTo>
                <a:lnTo>
                  <a:pt x="75" y="171"/>
                </a:lnTo>
                <a:close/>
                <a:moveTo>
                  <a:pt x="74" y="160"/>
                </a:moveTo>
                <a:cubicBezTo>
                  <a:pt x="74" y="160"/>
                  <a:pt x="74" y="160"/>
                  <a:pt x="74" y="160"/>
                </a:cubicBezTo>
                <a:cubicBezTo>
                  <a:pt x="74" y="160"/>
                  <a:pt x="74" y="160"/>
                  <a:pt x="74" y="160"/>
                </a:cubicBezTo>
                <a:cubicBezTo>
                  <a:pt x="74" y="161"/>
                  <a:pt x="74" y="161"/>
                  <a:pt x="74" y="161"/>
                </a:cubicBezTo>
                <a:cubicBezTo>
                  <a:pt x="74" y="163"/>
                  <a:pt x="74" y="163"/>
                  <a:pt x="74" y="163"/>
                </a:cubicBezTo>
                <a:cubicBezTo>
                  <a:pt x="75" y="166"/>
                  <a:pt x="75" y="166"/>
                  <a:pt x="75" y="166"/>
                </a:cubicBezTo>
                <a:cubicBezTo>
                  <a:pt x="72" y="163"/>
                  <a:pt x="72" y="163"/>
                  <a:pt x="72" y="163"/>
                </a:cubicBezTo>
                <a:cubicBezTo>
                  <a:pt x="73" y="161"/>
                  <a:pt x="73" y="161"/>
                  <a:pt x="73" y="161"/>
                </a:cubicBezTo>
                <a:cubicBezTo>
                  <a:pt x="73" y="161"/>
                  <a:pt x="73" y="161"/>
                  <a:pt x="73" y="161"/>
                </a:cubicBezTo>
                <a:lnTo>
                  <a:pt x="74" y="160"/>
                </a:lnTo>
                <a:close/>
                <a:moveTo>
                  <a:pt x="73" y="151"/>
                </a:moveTo>
                <a:cubicBezTo>
                  <a:pt x="73" y="151"/>
                  <a:pt x="73" y="151"/>
                  <a:pt x="73" y="151"/>
                </a:cubicBezTo>
                <a:cubicBezTo>
                  <a:pt x="73" y="151"/>
                  <a:pt x="73" y="151"/>
                  <a:pt x="73" y="151"/>
                </a:cubicBezTo>
                <a:cubicBezTo>
                  <a:pt x="74" y="153"/>
                  <a:pt x="74" y="153"/>
                  <a:pt x="74" y="153"/>
                </a:cubicBezTo>
                <a:cubicBezTo>
                  <a:pt x="74" y="155"/>
                  <a:pt x="74" y="155"/>
                  <a:pt x="74" y="155"/>
                </a:cubicBezTo>
                <a:cubicBezTo>
                  <a:pt x="71" y="153"/>
                  <a:pt x="71" y="153"/>
                  <a:pt x="71" y="153"/>
                </a:cubicBezTo>
                <a:cubicBezTo>
                  <a:pt x="72" y="152"/>
                  <a:pt x="72" y="152"/>
                  <a:pt x="72" y="152"/>
                </a:cubicBezTo>
                <a:lnTo>
                  <a:pt x="73" y="151"/>
                </a:lnTo>
                <a:close/>
                <a:moveTo>
                  <a:pt x="72" y="134"/>
                </a:moveTo>
                <a:cubicBezTo>
                  <a:pt x="72" y="134"/>
                  <a:pt x="72" y="134"/>
                  <a:pt x="72" y="134"/>
                </a:cubicBezTo>
                <a:cubicBezTo>
                  <a:pt x="72" y="134"/>
                  <a:pt x="72" y="134"/>
                  <a:pt x="72" y="134"/>
                </a:cubicBezTo>
                <a:cubicBezTo>
                  <a:pt x="72" y="138"/>
                  <a:pt x="72" y="138"/>
                  <a:pt x="72" y="138"/>
                </a:cubicBezTo>
                <a:cubicBezTo>
                  <a:pt x="70" y="136"/>
                  <a:pt x="70" y="136"/>
                  <a:pt x="70" y="136"/>
                </a:cubicBezTo>
                <a:lnTo>
                  <a:pt x="72" y="134"/>
                </a:lnTo>
                <a:close/>
                <a:moveTo>
                  <a:pt x="71" y="123"/>
                </a:moveTo>
                <a:cubicBezTo>
                  <a:pt x="71" y="126"/>
                  <a:pt x="71" y="126"/>
                  <a:pt x="71" y="126"/>
                </a:cubicBezTo>
                <a:cubicBezTo>
                  <a:pt x="71" y="127"/>
                  <a:pt x="71" y="127"/>
                  <a:pt x="71" y="127"/>
                </a:cubicBezTo>
                <a:cubicBezTo>
                  <a:pt x="72" y="129"/>
                  <a:pt x="72" y="129"/>
                  <a:pt x="72" y="129"/>
                </a:cubicBezTo>
                <a:cubicBezTo>
                  <a:pt x="72" y="129"/>
                  <a:pt x="72" y="129"/>
                  <a:pt x="72" y="129"/>
                </a:cubicBezTo>
                <a:cubicBezTo>
                  <a:pt x="72" y="128"/>
                  <a:pt x="72" y="128"/>
                  <a:pt x="72" y="128"/>
                </a:cubicBezTo>
                <a:cubicBezTo>
                  <a:pt x="70" y="126"/>
                  <a:pt x="70" y="126"/>
                  <a:pt x="70" y="126"/>
                </a:cubicBezTo>
                <a:cubicBezTo>
                  <a:pt x="70" y="126"/>
                  <a:pt x="70" y="126"/>
                  <a:pt x="70" y="126"/>
                </a:cubicBezTo>
                <a:cubicBezTo>
                  <a:pt x="70" y="125"/>
                  <a:pt x="70" y="125"/>
                  <a:pt x="70" y="125"/>
                </a:cubicBezTo>
                <a:lnTo>
                  <a:pt x="71" y="123"/>
                </a:lnTo>
                <a:close/>
                <a:moveTo>
                  <a:pt x="70" y="113"/>
                </a:moveTo>
                <a:cubicBezTo>
                  <a:pt x="71" y="115"/>
                  <a:pt x="71" y="115"/>
                  <a:pt x="71" y="115"/>
                </a:cubicBezTo>
                <a:cubicBezTo>
                  <a:pt x="71" y="116"/>
                  <a:pt x="71" y="116"/>
                  <a:pt x="71" y="116"/>
                </a:cubicBezTo>
                <a:cubicBezTo>
                  <a:pt x="71" y="118"/>
                  <a:pt x="71" y="118"/>
                  <a:pt x="71" y="118"/>
                </a:cubicBezTo>
                <a:cubicBezTo>
                  <a:pt x="69" y="115"/>
                  <a:pt x="69" y="115"/>
                  <a:pt x="69" y="115"/>
                </a:cubicBezTo>
                <a:cubicBezTo>
                  <a:pt x="69" y="115"/>
                  <a:pt x="69" y="115"/>
                  <a:pt x="69" y="115"/>
                </a:cubicBezTo>
                <a:cubicBezTo>
                  <a:pt x="70" y="114"/>
                  <a:pt x="70" y="114"/>
                  <a:pt x="70" y="114"/>
                </a:cubicBezTo>
                <a:lnTo>
                  <a:pt x="70" y="113"/>
                </a:lnTo>
                <a:close/>
                <a:moveTo>
                  <a:pt x="70" y="103"/>
                </a:moveTo>
                <a:cubicBezTo>
                  <a:pt x="70" y="105"/>
                  <a:pt x="70" y="105"/>
                  <a:pt x="70" y="105"/>
                </a:cubicBezTo>
                <a:cubicBezTo>
                  <a:pt x="70" y="105"/>
                  <a:pt x="70" y="105"/>
                  <a:pt x="70" y="105"/>
                </a:cubicBezTo>
                <a:cubicBezTo>
                  <a:pt x="70" y="106"/>
                  <a:pt x="70" y="106"/>
                  <a:pt x="70" y="106"/>
                </a:cubicBezTo>
                <a:cubicBezTo>
                  <a:pt x="70" y="107"/>
                  <a:pt x="70" y="107"/>
                  <a:pt x="70" y="107"/>
                </a:cubicBezTo>
                <a:cubicBezTo>
                  <a:pt x="68" y="105"/>
                  <a:pt x="68" y="105"/>
                  <a:pt x="68" y="105"/>
                </a:cubicBezTo>
                <a:cubicBezTo>
                  <a:pt x="69" y="105"/>
                  <a:pt x="69" y="105"/>
                  <a:pt x="69" y="105"/>
                </a:cubicBezTo>
                <a:cubicBezTo>
                  <a:pt x="69" y="104"/>
                  <a:pt x="69" y="104"/>
                  <a:pt x="69" y="104"/>
                </a:cubicBezTo>
                <a:cubicBezTo>
                  <a:pt x="69" y="104"/>
                  <a:pt x="69" y="104"/>
                  <a:pt x="69" y="104"/>
                </a:cubicBezTo>
                <a:lnTo>
                  <a:pt x="70" y="103"/>
                </a:lnTo>
                <a:close/>
                <a:moveTo>
                  <a:pt x="69" y="94"/>
                </a:moveTo>
                <a:cubicBezTo>
                  <a:pt x="69" y="95"/>
                  <a:pt x="69" y="95"/>
                  <a:pt x="69" y="95"/>
                </a:cubicBezTo>
                <a:cubicBezTo>
                  <a:pt x="69" y="97"/>
                  <a:pt x="69" y="97"/>
                  <a:pt x="69" y="97"/>
                </a:cubicBezTo>
                <a:cubicBezTo>
                  <a:pt x="69" y="97"/>
                  <a:pt x="69" y="97"/>
                  <a:pt x="69" y="97"/>
                </a:cubicBezTo>
                <a:cubicBezTo>
                  <a:pt x="69" y="97"/>
                  <a:pt x="69" y="97"/>
                  <a:pt x="69" y="97"/>
                </a:cubicBezTo>
                <a:cubicBezTo>
                  <a:pt x="68" y="95"/>
                  <a:pt x="68" y="95"/>
                  <a:pt x="68" y="95"/>
                </a:cubicBezTo>
                <a:cubicBezTo>
                  <a:pt x="68" y="95"/>
                  <a:pt x="68" y="95"/>
                  <a:pt x="68" y="95"/>
                </a:cubicBezTo>
                <a:lnTo>
                  <a:pt x="69" y="94"/>
                </a:lnTo>
                <a:close/>
                <a:moveTo>
                  <a:pt x="68" y="84"/>
                </a:moveTo>
                <a:cubicBezTo>
                  <a:pt x="68" y="84"/>
                  <a:pt x="68" y="84"/>
                  <a:pt x="68" y="84"/>
                </a:cubicBezTo>
                <a:cubicBezTo>
                  <a:pt x="68" y="85"/>
                  <a:pt x="68" y="85"/>
                  <a:pt x="68" y="85"/>
                </a:cubicBezTo>
                <a:cubicBezTo>
                  <a:pt x="68" y="86"/>
                  <a:pt x="68" y="86"/>
                  <a:pt x="68" y="86"/>
                </a:cubicBezTo>
                <a:cubicBezTo>
                  <a:pt x="69" y="87"/>
                  <a:pt x="69" y="87"/>
                  <a:pt x="69" y="87"/>
                </a:cubicBezTo>
                <a:cubicBezTo>
                  <a:pt x="67" y="86"/>
                  <a:pt x="67" y="86"/>
                  <a:pt x="67" y="86"/>
                </a:cubicBezTo>
                <a:cubicBezTo>
                  <a:pt x="68" y="85"/>
                  <a:pt x="68" y="85"/>
                  <a:pt x="68" y="85"/>
                </a:cubicBezTo>
                <a:cubicBezTo>
                  <a:pt x="68" y="84"/>
                  <a:pt x="68" y="84"/>
                  <a:pt x="68" y="84"/>
                </a:cubicBezTo>
                <a:cubicBezTo>
                  <a:pt x="68" y="84"/>
                  <a:pt x="68" y="84"/>
                  <a:pt x="68" y="84"/>
                </a:cubicBezTo>
                <a:close/>
                <a:moveTo>
                  <a:pt x="70" y="44"/>
                </a:move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4"/>
                  <a:pt x="70" y="44"/>
                  <a:pt x="70" y="44"/>
                </a:cubicBezTo>
                <a:cubicBezTo>
                  <a:pt x="70" y="42"/>
                  <a:pt x="70" y="42"/>
                  <a:pt x="70" y="42"/>
                </a:cubicBezTo>
                <a:cubicBezTo>
                  <a:pt x="71" y="42"/>
                  <a:pt x="71" y="42"/>
                  <a:pt x="71" y="42"/>
                </a:cubicBezTo>
                <a:cubicBezTo>
                  <a:pt x="71" y="42"/>
                  <a:pt x="71" y="42"/>
                  <a:pt x="71" y="42"/>
                </a:cubicBezTo>
                <a:cubicBezTo>
                  <a:pt x="71" y="42"/>
                  <a:pt x="71" y="42"/>
                  <a:pt x="71" y="42"/>
                </a:cubicBezTo>
                <a:cubicBezTo>
                  <a:pt x="71" y="44"/>
                  <a:pt x="71" y="44"/>
                  <a:pt x="71" y="44"/>
                </a:cubicBezTo>
                <a:cubicBezTo>
                  <a:pt x="71" y="45"/>
                  <a:pt x="71" y="47"/>
                  <a:pt x="71" y="48"/>
                </a:cubicBezTo>
                <a:cubicBezTo>
                  <a:pt x="70" y="49"/>
                  <a:pt x="70" y="49"/>
                  <a:pt x="70" y="50"/>
                </a:cubicBezTo>
                <a:cubicBezTo>
                  <a:pt x="69" y="50"/>
                  <a:pt x="69" y="50"/>
                  <a:pt x="69" y="50"/>
                </a:cubicBezTo>
                <a:cubicBezTo>
                  <a:pt x="69" y="49"/>
                  <a:pt x="69" y="49"/>
                  <a:pt x="69" y="49"/>
                </a:cubicBezTo>
                <a:cubicBezTo>
                  <a:pt x="70" y="47"/>
                  <a:pt x="70" y="47"/>
                  <a:pt x="70" y="47"/>
                </a:cubicBezTo>
                <a:lnTo>
                  <a:pt x="70" y="44"/>
                </a:lnTo>
                <a:close/>
                <a:moveTo>
                  <a:pt x="53" y="25"/>
                </a:moveTo>
                <a:cubicBezTo>
                  <a:pt x="53" y="25"/>
                  <a:pt x="53" y="24"/>
                  <a:pt x="54" y="24"/>
                </a:cubicBezTo>
                <a:cubicBezTo>
                  <a:pt x="55" y="23"/>
                  <a:pt x="55" y="22"/>
                  <a:pt x="56" y="21"/>
                </a:cubicBezTo>
                <a:cubicBezTo>
                  <a:pt x="58" y="17"/>
                  <a:pt x="59" y="12"/>
                  <a:pt x="59" y="5"/>
                </a:cubicBezTo>
                <a:cubicBezTo>
                  <a:pt x="59" y="5"/>
                  <a:pt x="59" y="5"/>
                  <a:pt x="59" y="5"/>
                </a:cubicBezTo>
                <a:cubicBezTo>
                  <a:pt x="59" y="5"/>
                  <a:pt x="59" y="5"/>
                  <a:pt x="59" y="5"/>
                </a:cubicBezTo>
                <a:cubicBezTo>
                  <a:pt x="59" y="4"/>
                  <a:pt x="59" y="3"/>
                  <a:pt x="59" y="3"/>
                </a:cubicBezTo>
                <a:cubicBezTo>
                  <a:pt x="59" y="3"/>
                  <a:pt x="60" y="2"/>
                  <a:pt x="60" y="2"/>
                </a:cubicBezTo>
                <a:cubicBezTo>
                  <a:pt x="60" y="2"/>
                  <a:pt x="60" y="3"/>
                  <a:pt x="60" y="3"/>
                </a:cubicBezTo>
                <a:cubicBezTo>
                  <a:pt x="60" y="3"/>
                  <a:pt x="60" y="4"/>
                  <a:pt x="60" y="5"/>
                </a:cubicBezTo>
                <a:cubicBezTo>
                  <a:pt x="60" y="5"/>
                  <a:pt x="60" y="5"/>
                  <a:pt x="60" y="5"/>
                </a:cubicBezTo>
                <a:cubicBezTo>
                  <a:pt x="60" y="5"/>
                  <a:pt x="60" y="5"/>
                  <a:pt x="60" y="5"/>
                </a:cubicBezTo>
                <a:cubicBezTo>
                  <a:pt x="60" y="5"/>
                  <a:pt x="60" y="5"/>
                  <a:pt x="60" y="5"/>
                </a:cubicBezTo>
                <a:cubicBezTo>
                  <a:pt x="60" y="12"/>
                  <a:pt x="62" y="17"/>
                  <a:pt x="64" y="21"/>
                </a:cubicBezTo>
                <a:cubicBezTo>
                  <a:pt x="65" y="23"/>
                  <a:pt x="66" y="24"/>
                  <a:pt x="67" y="25"/>
                </a:cubicBezTo>
                <a:cubicBezTo>
                  <a:pt x="55" y="25"/>
                  <a:pt x="55" y="25"/>
                  <a:pt x="55" y="25"/>
                </a:cubicBezTo>
                <a:cubicBezTo>
                  <a:pt x="53" y="25"/>
                  <a:pt x="53" y="25"/>
                  <a:pt x="53" y="25"/>
                </a:cubicBezTo>
                <a:cubicBezTo>
                  <a:pt x="53" y="25"/>
                  <a:pt x="53" y="25"/>
                  <a:pt x="53" y="25"/>
                </a:cubicBezTo>
                <a:cubicBezTo>
                  <a:pt x="53" y="25"/>
                  <a:pt x="53" y="25"/>
                  <a:pt x="53" y="25"/>
                </a:cubicBezTo>
                <a:close/>
                <a:moveTo>
                  <a:pt x="51" y="30"/>
                </a:moveTo>
                <a:cubicBezTo>
                  <a:pt x="51" y="30"/>
                  <a:pt x="51" y="30"/>
                  <a:pt x="51" y="30"/>
                </a:cubicBezTo>
                <a:cubicBezTo>
                  <a:pt x="51" y="30"/>
                  <a:pt x="51" y="30"/>
                  <a:pt x="51" y="30"/>
                </a:cubicBezTo>
                <a:cubicBezTo>
                  <a:pt x="48" y="30"/>
                  <a:pt x="48" y="30"/>
                  <a:pt x="48" y="30"/>
                </a:cubicBezTo>
                <a:cubicBezTo>
                  <a:pt x="48" y="30"/>
                  <a:pt x="48" y="30"/>
                  <a:pt x="48" y="30"/>
                </a:cubicBezTo>
                <a:cubicBezTo>
                  <a:pt x="48" y="30"/>
                  <a:pt x="48" y="30"/>
                  <a:pt x="48" y="30"/>
                </a:cubicBezTo>
                <a:cubicBezTo>
                  <a:pt x="48" y="27"/>
                  <a:pt x="48" y="27"/>
                  <a:pt x="48" y="27"/>
                </a:cubicBezTo>
                <a:cubicBezTo>
                  <a:pt x="48" y="27"/>
                  <a:pt x="48" y="27"/>
                  <a:pt x="48" y="27"/>
                </a:cubicBezTo>
                <a:cubicBezTo>
                  <a:pt x="55" y="27"/>
                  <a:pt x="55" y="27"/>
                  <a:pt x="55" y="27"/>
                </a:cubicBezTo>
                <a:cubicBezTo>
                  <a:pt x="57" y="27"/>
                  <a:pt x="57" y="27"/>
                  <a:pt x="57" y="27"/>
                </a:cubicBezTo>
                <a:cubicBezTo>
                  <a:pt x="72" y="27"/>
                  <a:pt x="72" y="27"/>
                  <a:pt x="72" y="27"/>
                </a:cubicBezTo>
                <a:cubicBezTo>
                  <a:pt x="72" y="29"/>
                  <a:pt x="72" y="29"/>
                  <a:pt x="72" y="29"/>
                </a:cubicBezTo>
                <a:cubicBezTo>
                  <a:pt x="69" y="29"/>
                  <a:pt x="69" y="29"/>
                  <a:pt x="69" y="29"/>
                </a:cubicBezTo>
                <a:cubicBezTo>
                  <a:pt x="69" y="29"/>
                  <a:pt x="69" y="29"/>
                  <a:pt x="69" y="29"/>
                </a:cubicBezTo>
                <a:cubicBezTo>
                  <a:pt x="60" y="30"/>
                  <a:pt x="60" y="30"/>
                  <a:pt x="60" y="30"/>
                </a:cubicBezTo>
                <a:cubicBezTo>
                  <a:pt x="58" y="30"/>
                  <a:pt x="58" y="30"/>
                  <a:pt x="58" y="30"/>
                </a:cubicBezTo>
                <a:cubicBezTo>
                  <a:pt x="51" y="30"/>
                  <a:pt x="51" y="30"/>
                  <a:pt x="51" y="30"/>
                </a:cubicBezTo>
                <a:close/>
                <a:moveTo>
                  <a:pt x="52" y="37"/>
                </a:moveTo>
                <a:cubicBezTo>
                  <a:pt x="52" y="35"/>
                  <a:pt x="52" y="35"/>
                  <a:pt x="52" y="35"/>
                </a:cubicBezTo>
                <a:cubicBezTo>
                  <a:pt x="52" y="33"/>
                  <a:pt x="52" y="33"/>
                  <a:pt x="52" y="33"/>
                </a:cubicBezTo>
                <a:cubicBezTo>
                  <a:pt x="52" y="32"/>
                  <a:pt x="52" y="32"/>
                  <a:pt x="52" y="32"/>
                </a:cubicBezTo>
                <a:cubicBezTo>
                  <a:pt x="53" y="32"/>
                  <a:pt x="53" y="32"/>
                  <a:pt x="53" y="32"/>
                </a:cubicBezTo>
                <a:cubicBezTo>
                  <a:pt x="60" y="31"/>
                  <a:pt x="60" y="31"/>
                  <a:pt x="60" y="31"/>
                </a:cubicBezTo>
                <a:cubicBezTo>
                  <a:pt x="62" y="31"/>
                  <a:pt x="62" y="31"/>
                  <a:pt x="62" y="31"/>
                </a:cubicBezTo>
                <a:cubicBezTo>
                  <a:pt x="68" y="31"/>
                  <a:pt x="68" y="31"/>
                  <a:pt x="68" y="31"/>
                </a:cubicBezTo>
                <a:cubicBezTo>
                  <a:pt x="68" y="37"/>
                  <a:pt x="68" y="37"/>
                  <a:pt x="68" y="37"/>
                </a:cubicBezTo>
                <a:cubicBezTo>
                  <a:pt x="68" y="37"/>
                  <a:pt x="68" y="37"/>
                  <a:pt x="67" y="37"/>
                </a:cubicBezTo>
                <a:cubicBezTo>
                  <a:pt x="67" y="37"/>
                  <a:pt x="66" y="37"/>
                  <a:pt x="65" y="36"/>
                </a:cubicBezTo>
                <a:cubicBezTo>
                  <a:pt x="65" y="36"/>
                  <a:pt x="65" y="36"/>
                  <a:pt x="65" y="36"/>
                </a:cubicBezTo>
                <a:cubicBezTo>
                  <a:pt x="63" y="36"/>
                  <a:pt x="62" y="36"/>
                  <a:pt x="60" y="36"/>
                </a:cubicBezTo>
                <a:cubicBezTo>
                  <a:pt x="59" y="36"/>
                  <a:pt x="59" y="36"/>
                  <a:pt x="58" y="36"/>
                </a:cubicBezTo>
                <a:cubicBezTo>
                  <a:pt x="57" y="36"/>
                  <a:pt x="56" y="36"/>
                  <a:pt x="56" y="37"/>
                </a:cubicBezTo>
                <a:cubicBezTo>
                  <a:pt x="55" y="37"/>
                  <a:pt x="55" y="37"/>
                  <a:pt x="55" y="37"/>
                </a:cubicBezTo>
                <a:cubicBezTo>
                  <a:pt x="55" y="37"/>
                  <a:pt x="54" y="37"/>
                  <a:pt x="54" y="37"/>
                </a:cubicBezTo>
                <a:cubicBezTo>
                  <a:pt x="53" y="37"/>
                  <a:pt x="53" y="37"/>
                  <a:pt x="52" y="37"/>
                </a:cubicBezTo>
                <a:cubicBezTo>
                  <a:pt x="52" y="37"/>
                  <a:pt x="52" y="37"/>
                  <a:pt x="52" y="37"/>
                </a:cubicBezTo>
                <a:close/>
                <a:moveTo>
                  <a:pt x="52" y="39"/>
                </a:moveTo>
                <a:cubicBezTo>
                  <a:pt x="53" y="39"/>
                  <a:pt x="53" y="39"/>
                  <a:pt x="54" y="39"/>
                </a:cubicBezTo>
                <a:cubicBezTo>
                  <a:pt x="54" y="39"/>
                  <a:pt x="55" y="39"/>
                  <a:pt x="55" y="38"/>
                </a:cubicBezTo>
                <a:cubicBezTo>
                  <a:pt x="56" y="38"/>
                  <a:pt x="56" y="38"/>
                  <a:pt x="56" y="38"/>
                </a:cubicBezTo>
                <a:cubicBezTo>
                  <a:pt x="56" y="38"/>
                  <a:pt x="57" y="38"/>
                  <a:pt x="57" y="38"/>
                </a:cubicBezTo>
                <a:cubicBezTo>
                  <a:pt x="58" y="38"/>
                  <a:pt x="59" y="38"/>
                  <a:pt x="60" y="38"/>
                </a:cubicBezTo>
                <a:cubicBezTo>
                  <a:pt x="60" y="38"/>
                  <a:pt x="60" y="38"/>
                  <a:pt x="60" y="38"/>
                </a:cubicBezTo>
                <a:cubicBezTo>
                  <a:pt x="62" y="38"/>
                  <a:pt x="63" y="38"/>
                  <a:pt x="65" y="38"/>
                </a:cubicBezTo>
                <a:cubicBezTo>
                  <a:pt x="66" y="38"/>
                  <a:pt x="67" y="38"/>
                  <a:pt x="67" y="39"/>
                </a:cubicBezTo>
                <a:cubicBezTo>
                  <a:pt x="68" y="39"/>
                  <a:pt x="68" y="39"/>
                  <a:pt x="68" y="39"/>
                </a:cubicBezTo>
                <a:cubicBezTo>
                  <a:pt x="68" y="39"/>
                  <a:pt x="68" y="39"/>
                  <a:pt x="68" y="39"/>
                </a:cubicBezTo>
                <a:cubicBezTo>
                  <a:pt x="68" y="40"/>
                  <a:pt x="68" y="40"/>
                  <a:pt x="68" y="40"/>
                </a:cubicBezTo>
                <a:cubicBezTo>
                  <a:pt x="62" y="40"/>
                  <a:pt x="62" y="40"/>
                  <a:pt x="62" y="40"/>
                </a:cubicBezTo>
                <a:cubicBezTo>
                  <a:pt x="59" y="40"/>
                  <a:pt x="59" y="40"/>
                  <a:pt x="59" y="40"/>
                </a:cubicBezTo>
                <a:cubicBezTo>
                  <a:pt x="58" y="40"/>
                  <a:pt x="58" y="40"/>
                  <a:pt x="58" y="40"/>
                </a:cubicBezTo>
                <a:cubicBezTo>
                  <a:pt x="56" y="40"/>
                  <a:pt x="56" y="40"/>
                  <a:pt x="56" y="40"/>
                </a:cubicBezTo>
                <a:cubicBezTo>
                  <a:pt x="52" y="40"/>
                  <a:pt x="52" y="40"/>
                  <a:pt x="52" y="40"/>
                </a:cubicBezTo>
                <a:cubicBezTo>
                  <a:pt x="52" y="40"/>
                  <a:pt x="52" y="40"/>
                  <a:pt x="52" y="40"/>
                </a:cubicBezTo>
                <a:cubicBezTo>
                  <a:pt x="52" y="40"/>
                  <a:pt x="52" y="40"/>
                  <a:pt x="52" y="40"/>
                </a:cubicBezTo>
                <a:lnTo>
                  <a:pt x="52" y="39"/>
                </a:lnTo>
                <a:close/>
                <a:moveTo>
                  <a:pt x="52" y="43"/>
                </a:moveTo>
                <a:cubicBezTo>
                  <a:pt x="52" y="42"/>
                  <a:pt x="52" y="42"/>
                  <a:pt x="52" y="42"/>
                </a:cubicBezTo>
                <a:cubicBezTo>
                  <a:pt x="53" y="42"/>
                  <a:pt x="53" y="42"/>
                  <a:pt x="53" y="42"/>
                </a:cubicBezTo>
                <a:cubicBezTo>
                  <a:pt x="54" y="42"/>
                  <a:pt x="54" y="42"/>
                  <a:pt x="54" y="42"/>
                </a:cubicBezTo>
                <a:cubicBezTo>
                  <a:pt x="58" y="42"/>
                  <a:pt x="58" y="42"/>
                  <a:pt x="58" y="42"/>
                </a:cubicBezTo>
                <a:cubicBezTo>
                  <a:pt x="60" y="42"/>
                  <a:pt x="60" y="42"/>
                  <a:pt x="60" y="42"/>
                </a:cubicBezTo>
                <a:cubicBezTo>
                  <a:pt x="61" y="42"/>
                  <a:pt x="61" y="42"/>
                  <a:pt x="61" y="42"/>
                </a:cubicBezTo>
                <a:cubicBezTo>
                  <a:pt x="64" y="42"/>
                  <a:pt x="64" y="42"/>
                  <a:pt x="64" y="42"/>
                </a:cubicBezTo>
                <a:cubicBezTo>
                  <a:pt x="68" y="42"/>
                  <a:pt x="68" y="42"/>
                  <a:pt x="68" y="42"/>
                </a:cubicBezTo>
                <a:cubicBezTo>
                  <a:pt x="68" y="43"/>
                  <a:pt x="68" y="43"/>
                  <a:pt x="68" y="43"/>
                </a:cubicBezTo>
                <a:cubicBezTo>
                  <a:pt x="67" y="43"/>
                  <a:pt x="67" y="43"/>
                  <a:pt x="67" y="43"/>
                </a:cubicBezTo>
                <a:cubicBezTo>
                  <a:pt x="67" y="43"/>
                  <a:pt x="67" y="43"/>
                  <a:pt x="67" y="43"/>
                </a:cubicBezTo>
                <a:cubicBezTo>
                  <a:pt x="67" y="43"/>
                  <a:pt x="67" y="43"/>
                  <a:pt x="67" y="43"/>
                </a:cubicBezTo>
                <a:cubicBezTo>
                  <a:pt x="65" y="43"/>
                  <a:pt x="65" y="43"/>
                  <a:pt x="65" y="43"/>
                </a:cubicBezTo>
                <a:cubicBezTo>
                  <a:pt x="63" y="43"/>
                  <a:pt x="63" y="43"/>
                  <a:pt x="63" y="43"/>
                </a:cubicBezTo>
                <a:cubicBezTo>
                  <a:pt x="62" y="43"/>
                  <a:pt x="62" y="43"/>
                  <a:pt x="62" y="43"/>
                </a:cubicBezTo>
                <a:cubicBezTo>
                  <a:pt x="62" y="43"/>
                  <a:pt x="62" y="43"/>
                  <a:pt x="62" y="43"/>
                </a:cubicBezTo>
                <a:cubicBezTo>
                  <a:pt x="62" y="43"/>
                  <a:pt x="62" y="43"/>
                  <a:pt x="62" y="43"/>
                </a:cubicBezTo>
                <a:cubicBezTo>
                  <a:pt x="61" y="43"/>
                  <a:pt x="61" y="43"/>
                  <a:pt x="61" y="43"/>
                </a:cubicBezTo>
                <a:cubicBezTo>
                  <a:pt x="59" y="43"/>
                  <a:pt x="59" y="43"/>
                  <a:pt x="59" y="43"/>
                </a:cubicBezTo>
                <a:cubicBezTo>
                  <a:pt x="59" y="43"/>
                  <a:pt x="59" y="43"/>
                  <a:pt x="59" y="43"/>
                </a:cubicBezTo>
                <a:cubicBezTo>
                  <a:pt x="58" y="43"/>
                  <a:pt x="58" y="43"/>
                  <a:pt x="58" y="43"/>
                </a:cubicBezTo>
                <a:cubicBezTo>
                  <a:pt x="58" y="43"/>
                  <a:pt x="58" y="43"/>
                  <a:pt x="58" y="43"/>
                </a:cubicBezTo>
                <a:cubicBezTo>
                  <a:pt x="55" y="43"/>
                  <a:pt x="55" y="43"/>
                  <a:pt x="55" y="43"/>
                </a:cubicBezTo>
                <a:cubicBezTo>
                  <a:pt x="54" y="43"/>
                  <a:pt x="54" y="43"/>
                  <a:pt x="54" y="43"/>
                </a:cubicBezTo>
                <a:cubicBezTo>
                  <a:pt x="54" y="43"/>
                  <a:pt x="54" y="43"/>
                  <a:pt x="54" y="43"/>
                </a:cubicBezTo>
                <a:cubicBezTo>
                  <a:pt x="54" y="43"/>
                  <a:pt x="54" y="43"/>
                  <a:pt x="54" y="43"/>
                </a:cubicBezTo>
                <a:cubicBezTo>
                  <a:pt x="54" y="43"/>
                  <a:pt x="54" y="43"/>
                  <a:pt x="54" y="43"/>
                </a:cubicBezTo>
                <a:lnTo>
                  <a:pt x="52" y="43"/>
                </a:lnTo>
                <a:close/>
                <a:moveTo>
                  <a:pt x="52" y="105"/>
                </a:moveTo>
                <a:cubicBezTo>
                  <a:pt x="53" y="103"/>
                  <a:pt x="53" y="103"/>
                  <a:pt x="53" y="103"/>
                </a:cubicBezTo>
                <a:cubicBezTo>
                  <a:pt x="53" y="103"/>
                  <a:pt x="53" y="103"/>
                  <a:pt x="53" y="103"/>
                </a:cubicBezTo>
                <a:cubicBezTo>
                  <a:pt x="53" y="104"/>
                  <a:pt x="53" y="104"/>
                  <a:pt x="53" y="104"/>
                </a:cubicBezTo>
                <a:cubicBezTo>
                  <a:pt x="54" y="105"/>
                  <a:pt x="54" y="105"/>
                  <a:pt x="54" y="105"/>
                </a:cubicBezTo>
                <a:cubicBezTo>
                  <a:pt x="53" y="106"/>
                  <a:pt x="53" y="106"/>
                  <a:pt x="53" y="106"/>
                </a:cubicBezTo>
                <a:cubicBezTo>
                  <a:pt x="52" y="107"/>
                  <a:pt x="52" y="107"/>
                  <a:pt x="52" y="107"/>
                </a:cubicBezTo>
                <a:lnTo>
                  <a:pt x="52" y="105"/>
                </a:lnTo>
                <a:close/>
                <a:moveTo>
                  <a:pt x="52" y="115"/>
                </a:moveTo>
                <a:cubicBezTo>
                  <a:pt x="52" y="114"/>
                  <a:pt x="52" y="114"/>
                  <a:pt x="52" y="114"/>
                </a:cubicBezTo>
                <a:cubicBezTo>
                  <a:pt x="52" y="113"/>
                  <a:pt x="52" y="113"/>
                  <a:pt x="52" y="113"/>
                </a:cubicBezTo>
                <a:cubicBezTo>
                  <a:pt x="53" y="114"/>
                  <a:pt x="53" y="114"/>
                  <a:pt x="53" y="114"/>
                </a:cubicBezTo>
                <a:cubicBezTo>
                  <a:pt x="54" y="115"/>
                  <a:pt x="54" y="115"/>
                  <a:pt x="54" y="115"/>
                </a:cubicBezTo>
                <a:cubicBezTo>
                  <a:pt x="53" y="116"/>
                  <a:pt x="53" y="116"/>
                  <a:pt x="53" y="116"/>
                </a:cubicBezTo>
                <a:cubicBezTo>
                  <a:pt x="52" y="118"/>
                  <a:pt x="52" y="118"/>
                  <a:pt x="52" y="118"/>
                </a:cubicBezTo>
                <a:lnTo>
                  <a:pt x="52" y="115"/>
                </a:lnTo>
                <a:close/>
                <a:moveTo>
                  <a:pt x="51" y="129"/>
                </a:moveTo>
                <a:cubicBezTo>
                  <a:pt x="52" y="126"/>
                  <a:pt x="52" y="126"/>
                  <a:pt x="52" y="126"/>
                </a:cubicBezTo>
                <a:cubicBezTo>
                  <a:pt x="52" y="125"/>
                  <a:pt x="52" y="125"/>
                  <a:pt x="52" y="125"/>
                </a:cubicBezTo>
                <a:cubicBezTo>
                  <a:pt x="52" y="124"/>
                  <a:pt x="52" y="124"/>
                  <a:pt x="52" y="124"/>
                </a:cubicBezTo>
                <a:cubicBezTo>
                  <a:pt x="53" y="126"/>
                  <a:pt x="53" y="126"/>
                  <a:pt x="53" y="126"/>
                </a:cubicBezTo>
                <a:cubicBezTo>
                  <a:pt x="53" y="126"/>
                  <a:pt x="53" y="126"/>
                  <a:pt x="53" y="126"/>
                </a:cubicBezTo>
                <a:cubicBezTo>
                  <a:pt x="53" y="127"/>
                  <a:pt x="53" y="127"/>
                  <a:pt x="53" y="127"/>
                </a:cubicBezTo>
                <a:cubicBezTo>
                  <a:pt x="52" y="129"/>
                  <a:pt x="52" y="129"/>
                  <a:pt x="52" y="129"/>
                </a:cubicBezTo>
                <a:cubicBezTo>
                  <a:pt x="51" y="129"/>
                  <a:pt x="51" y="129"/>
                  <a:pt x="51" y="129"/>
                </a:cubicBezTo>
                <a:close/>
                <a:moveTo>
                  <a:pt x="51" y="137"/>
                </a:moveTo>
                <a:cubicBezTo>
                  <a:pt x="51" y="136"/>
                  <a:pt x="51" y="136"/>
                  <a:pt x="51" y="136"/>
                </a:cubicBezTo>
                <a:cubicBezTo>
                  <a:pt x="51" y="134"/>
                  <a:pt x="51" y="134"/>
                  <a:pt x="51" y="134"/>
                </a:cubicBezTo>
                <a:cubicBezTo>
                  <a:pt x="53" y="136"/>
                  <a:pt x="53" y="136"/>
                  <a:pt x="53" y="136"/>
                </a:cubicBezTo>
                <a:cubicBezTo>
                  <a:pt x="52" y="137"/>
                  <a:pt x="52" y="137"/>
                  <a:pt x="52" y="137"/>
                </a:cubicBezTo>
                <a:cubicBezTo>
                  <a:pt x="51" y="138"/>
                  <a:pt x="51" y="138"/>
                  <a:pt x="51" y="138"/>
                </a:cubicBezTo>
                <a:cubicBezTo>
                  <a:pt x="51" y="138"/>
                  <a:pt x="51" y="138"/>
                  <a:pt x="51" y="138"/>
                </a:cubicBezTo>
                <a:lnTo>
                  <a:pt x="51" y="137"/>
                </a:lnTo>
                <a:close/>
                <a:moveTo>
                  <a:pt x="51" y="145"/>
                </a:moveTo>
                <a:cubicBezTo>
                  <a:pt x="51" y="143"/>
                  <a:pt x="51" y="143"/>
                  <a:pt x="51" y="143"/>
                </a:cubicBezTo>
                <a:cubicBezTo>
                  <a:pt x="53" y="145"/>
                  <a:pt x="53" y="145"/>
                  <a:pt x="53" y="145"/>
                </a:cubicBezTo>
                <a:cubicBezTo>
                  <a:pt x="52" y="146"/>
                  <a:pt x="52" y="146"/>
                  <a:pt x="52" y="146"/>
                </a:cubicBezTo>
                <a:cubicBezTo>
                  <a:pt x="51" y="147"/>
                  <a:pt x="51" y="147"/>
                  <a:pt x="51" y="147"/>
                </a:cubicBezTo>
                <a:cubicBezTo>
                  <a:pt x="51" y="147"/>
                  <a:pt x="51" y="147"/>
                  <a:pt x="51" y="147"/>
                </a:cubicBezTo>
                <a:cubicBezTo>
                  <a:pt x="51" y="147"/>
                  <a:pt x="51" y="147"/>
                  <a:pt x="51" y="147"/>
                </a:cubicBezTo>
                <a:lnTo>
                  <a:pt x="51" y="145"/>
                </a:lnTo>
                <a:close/>
                <a:moveTo>
                  <a:pt x="50" y="153"/>
                </a:moveTo>
                <a:cubicBezTo>
                  <a:pt x="50" y="151"/>
                  <a:pt x="50" y="151"/>
                  <a:pt x="50" y="151"/>
                </a:cubicBezTo>
                <a:cubicBezTo>
                  <a:pt x="52" y="153"/>
                  <a:pt x="52" y="153"/>
                  <a:pt x="52" y="153"/>
                </a:cubicBezTo>
                <a:cubicBezTo>
                  <a:pt x="51" y="154"/>
                  <a:pt x="51" y="154"/>
                  <a:pt x="51" y="154"/>
                </a:cubicBezTo>
                <a:cubicBezTo>
                  <a:pt x="50" y="155"/>
                  <a:pt x="50" y="155"/>
                  <a:pt x="50" y="155"/>
                </a:cubicBezTo>
                <a:lnTo>
                  <a:pt x="50" y="153"/>
                </a:lnTo>
                <a:close/>
                <a:moveTo>
                  <a:pt x="50" y="163"/>
                </a:moveTo>
                <a:cubicBezTo>
                  <a:pt x="50" y="160"/>
                  <a:pt x="50" y="160"/>
                  <a:pt x="50" y="160"/>
                </a:cubicBezTo>
                <a:cubicBezTo>
                  <a:pt x="50" y="160"/>
                  <a:pt x="50" y="160"/>
                  <a:pt x="50" y="160"/>
                </a:cubicBezTo>
                <a:cubicBezTo>
                  <a:pt x="51" y="161"/>
                  <a:pt x="51" y="161"/>
                  <a:pt x="51" y="161"/>
                </a:cubicBezTo>
                <a:cubicBezTo>
                  <a:pt x="52" y="163"/>
                  <a:pt x="52" y="163"/>
                  <a:pt x="52" y="163"/>
                </a:cubicBezTo>
                <a:cubicBezTo>
                  <a:pt x="51" y="164"/>
                  <a:pt x="51" y="164"/>
                  <a:pt x="51" y="164"/>
                </a:cubicBezTo>
                <a:cubicBezTo>
                  <a:pt x="49" y="166"/>
                  <a:pt x="49" y="166"/>
                  <a:pt x="49" y="166"/>
                </a:cubicBezTo>
                <a:lnTo>
                  <a:pt x="50" y="163"/>
                </a:lnTo>
                <a:close/>
                <a:moveTo>
                  <a:pt x="49" y="177"/>
                </a:moveTo>
                <a:cubicBezTo>
                  <a:pt x="49" y="175"/>
                  <a:pt x="49" y="175"/>
                  <a:pt x="49" y="175"/>
                </a:cubicBezTo>
                <a:cubicBezTo>
                  <a:pt x="49" y="172"/>
                  <a:pt x="49" y="172"/>
                  <a:pt x="49" y="172"/>
                </a:cubicBezTo>
                <a:cubicBezTo>
                  <a:pt x="52" y="175"/>
                  <a:pt x="52" y="175"/>
                  <a:pt x="52" y="175"/>
                </a:cubicBezTo>
                <a:cubicBezTo>
                  <a:pt x="50" y="176"/>
                  <a:pt x="50" y="176"/>
                  <a:pt x="50" y="176"/>
                </a:cubicBezTo>
                <a:cubicBezTo>
                  <a:pt x="49" y="178"/>
                  <a:pt x="49" y="178"/>
                  <a:pt x="49" y="178"/>
                </a:cubicBezTo>
                <a:cubicBezTo>
                  <a:pt x="49" y="178"/>
                  <a:pt x="49" y="178"/>
                  <a:pt x="49" y="178"/>
                </a:cubicBezTo>
                <a:lnTo>
                  <a:pt x="49" y="177"/>
                </a:lnTo>
                <a:close/>
                <a:moveTo>
                  <a:pt x="48" y="189"/>
                </a:moveTo>
                <a:cubicBezTo>
                  <a:pt x="48" y="186"/>
                  <a:pt x="48" y="186"/>
                  <a:pt x="48" y="186"/>
                </a:cubicBezTo>
                <a:cubicBezTo>
                  <a:pt x="48" y="183"/>
                  <a:pt x="48" y="183"/>
                  <a:pt x="48" y="183"/>
                </a:cubicBezTo>
                <a:cubicBezTo>
                  <a:pt x="51" y="186"/>
                  <a:pt x="51" y="186"/>
                  <a:pt x="51" y="186"/>
                </a:cubicBezTo>
                <a:cubicBezTo>
                  <a:pt x="50" y="188"/>
                  <a:pt x="50" y="188"/>
                  <a:pt x="50" y="188"/>
                </a:cubicBezTo>
                <a:cubicBezTo>
                  <a:pt x="48" y="189"/>
                  <a:pt x="48" y="189"/>
                  <a:pt x="48" y="189"/>
                </a:cubicBezTo>
                <a:cubicBezTo>
                  <a:pt x="48" y="189"/>
                  <a:pt x="48" y="189"/>
                  <a:pt x="48" y="189"/>
                </a:cubicBezTo>
                <a:close/>
                <a:moveTo>
                  <a:pt x="47" y="197"/>
                </a:moveTo>
                <a:cubicBezTo>
                  <a:pt x="48" y="194"/>
                  <a:pt x="48" y="194"/>
                  <a:pt x="48" y="194"/>
                </a:cubicBezTo>
                <a:cubicBezTo>
                  <a:pt x="51" y="197"/>
                  <a:pt x="51" y="197"/>
                  <a:pt x="51" y="197"/>
                </a:cubicBezTo>
                <a:cubicBezTo>
                  <a:pt x="49" y="199"/>
                  <a:pt x="49" y="199"/>
                  <a:pt x="49" y="199"/>
                </a:cubicBezTo>
                <a:cubicBezTo>
                  <a:pt x="47" y="200"/>
                  <a:pt x="47" y="200"/>
                  <a:pt x="47" y="200"/>
                </a:cubicBezTo>
                <a:lnTo>
                  <a:pt x="47" y="197"/>
                </a:lnTo>
                <a:close/>
                <a:moveTo>
                  <a:pt x="46" y="210"/>
                </a:moveTo>
                <a:cubicBezTo>
                  <a:pt x="46" y="208"/>
                  <a:pt x="47" y="207"/>
                  <a:pt x="47" y="205"/>
                </a:cubicBezTo>
                <a:cubicBezTo>
                  <a:pt x="50" y="209"/>
                  <a:pt x="50" y="209"/>
                  <a:pt x="50" y="209"/>
                </a:cubicBezTo>
                <a:cubicBezTo>
                  <a:pt x="48" y="212"/>
                  <a:pt x="48" y="212"/>
                  <a:pt x="48" y="212"/>
                </a:cubicBezTo>
                <a:cubicBezTo>
                  <a:pt x="46" y="214"/>
                  <a:pt x="46" y="214"/>
                  <a:pt x="46" y="214"/>
                </a:cubicBezTo>
                <a:cubicBezTo>
                  <a:pt x="46" y="213"/>
                  <a:pt x="46" y="211"/>
                  <a:pt x="46" y="210"/>
                </a:cubicBezTo>
                <a:close/>
                <a:moveTo>
                  <a:pt x="45" y="224"/>
                </a:moveTo>
                <a:cubicBezTo>
                  <a:pt x="45" y="223"/>
                  <a:pt x="45" y="221"/>
                  <a:pt x="45" y="220"/>
                </a:cubicBezTo>
                <a:cubicBezTo>
                  <a:pt x="45" y="219"/>
                  <a:pt x="45" y="219"/>
                  <a:pt x="45" y="219"/>
                </a:cubicBezTo>
                <a:cubicBezTo>
                  <a:pt x="48" y="222"/>
                  <a:pt x="48" y="222"/>
                  <a:pt x="48" y="222"/>
                </a:cubicBezTo>
                <a:cubicBezTo>
                  <a:pt x="49" y="224"/>
                  <a:pt x="49" y="224"/>
                  <a:pt x="49" y="224"/>
                </a:cubicBezTo>
                <a:cubicBezTo>
                  <a:pt x="47" y="227"/>
                  <a:pt x="47" y="227"/>
                  <a:pt x="47" y="227"/>
                </a:cubicBezTo>
                <a:cubicBezTo>
                  <a:pt x="44" y="230"/>
                  <a:pt x="44" y="230"/>
                  <a:pt x="44" y="230"/>
                </a:cubicBezTo>
                <a:cubicBezTo>
                  <a:pt x="45" y="228"/>
                  <a:pt x="45" y="226"/>
                  <a:pt x="45" y="224"/>
                </a:cubicBezTo>
                <a:close/>
                <a:moveTo>
                  <a:pt x="43" y="240"/>
                </a:moveTo>
                <a:cubicBezTo>
                  <a:pt x="43" y="239"/>
                  <a:pt x="44" y="237"/>
                  <a:pt x="44" y="235"/>
                </a:cubicBezTo>
                <a:cubicBezTo>
                  <a:pt x="48" y="240"/>
                  <a:pt x="48" y="240"/>
                  <a:pt x="48" y="240"/>
                </a:cubicBezTo>
                <a:cubicBezTo>
                  <a:pt x="46" y="243"/>
                  <a:pt x="46" y="243"/>
                  <a:pt x="46" y="243"/>
                </a:cubicBezTo>
                <a:cubicBezTo>
                  <a:pt x="43" y="246"/>
                  <a:pt x="43" y="246"/>
                  <a:pt x="43" y="246"/>
                </a:cubicBezTo>
                <a:cubicBezTo>
                  <a:pt x="43" y="244"/>
                  <a:pt x="43" y="242"/>
                  <a:pt x="43" y="240"/>
                </a:cubicBezTo>
                <a:close/>
                <a:moveTo>
                  <a:pt x="40" y="261"/>
                </a:moveTo>
                <a:cubicBezTo>
                  <a:pt x="41" y="260"/>
                  <a:pt x="41" y="259"/>
                  <a:pt x="41" y="258"/>
                </a:cubicBezTo>
                <a:cubicBezTo>
                  <a:pt x="41" y="256"/>
                  <a:pt x="41" y="256"/>
                  <a:pt x="41" y="256"/>
                </a:cubicBezTo>
                <a:cubicBezTo>
                  <a:pt x="41" y="255"/>
                  <a:pt x="41" y="255"/>
                  <a:pt x="41" y="255"/>
                </a:cubicBezTo>
                <a:cubicBezTo>
                  <a:pt x="41" y="254"/>
                  <a:pt x="41" y="254"/>
                  <a:pt x="41" y="254"/>
                </a:cubicBezTo>
                <a:cubicBezTo>
                  <a:pt x="41" y="254"/>
                  <a:pt x="41" y="254"/>
                  <a:pt x="41" y="254"/>
                </a:cubicBezTo>
                <a:cubicBezTo>
                  <a:pt x="42" y="253"/>
                  <a:pt x="42" y="253"/>
                  <a:pt x="42" y="253"/>
                </a:cubicBezTo>
                <a:cubicBezTo>
                  <a:pt x="42" y="251"/>
                  <a:pt x="42" y="251"/>
                  <a:pt x="42" y="251"/>
                </a:cubicBezTo>
                <a:cubicBezTo>
                  <a:pt x="42" y="251"/>
                  <a:pt x="42" y="251"/>
                  <a:pt x="42" y="251"/>
                </a:cubicBezTo>
                <a:cubicBezTo>
                  <a:pt x="47" y="256"/>
                  <a:pt x="47" y="256"/>
                  <a:pt x="47" y="256"/>
                </a:cubicBezTo>
                <a:cubicBezTo>
                  <a:pt x="47" y="256"/>
                  <a:pt x="47" y="256"/>
                  <a:pt x="47" y="256"/>
                </a:cubicBezTo>
                <a:cubicBezTo>
                  <a:pt x="46" y="257"/>
                  <a:pt x="46" y="257"/>
                  <a:pt x="46" y="257"/>
                </a:cubicBezTo>
                <a:cubicBezTo>
                  <a:pt x="45" y="257"/>
                  <a:pt x="45" y="257"/>
                  <a:pt x="45" y="257"/>
                </a:cubicBezTo>
                <a:cubicBezTo>
                  <a:pt x="45" y="257"/>
                  <a:pt x="45" y="257"/>
                  <a:pt x="45" y="257"/>
                </a:cubicBezTo>
                <a:cubicBezTo>
                  <a:pt x="45" y="258"/>
                  <a:pt x="45" y="258"/>
                  <a:pt x="45" y="258"/>
                </a:cubicBezTo>
                <a:cubicBezTo>
                  <a:pt x="44" y="258"/>
                  <a:pt x="44" y="258"/>
                  <a:pt x="44" y="258"/>
                </a:cubicBezTo>
                <a:cubicBezTo>
                  <a:pt x="42" y="260"/>
                  <a:pt x="42" y="260"/>
                  <a:pt x="42" y="260"/>
                </a:cubicBezTo>
                <a:cubicBezTo>
                  <a:pt x="41" y="261"/>
                  <a:pt x="41" y="261"/>
                  <a:pt x="41" y="261"/>
                </a:cubicBezTo>
                <a:cubicBezTo>
                  <a:pt x="41" y="261"/>
                  <a:pt x="41" y="261"/>
                  <a:pt x="41" y="261"/>
                </a:cubicBezTo>
                <a:cubicBezTo>
                  <a:pt x="40" y="261"/>
                  <a:pt x="40" y="261"/>
                  <a:pt x="40" y="261"/>
                </a:cubicBezTo>
                <a:close/>
                <a:moveTo>
                  <a:pt x="40" y="267"/>
                </a:moveTo>
                <a:cubicBezTo>
                  <a:pt x="40" y="266"/>
                  <a:pt x="40" y="266"/>
                  <a:pt x="40" y="266"/>
                </a:cubicBezTo>
                <a:cubicBezTo>
                  <a:pt x="40" y="265"/>
                  <a:pt x="40" y="265"/>
                  <a:pt x="40" y="265"/>
                </a:cubicBezTo>
                <a:cubicBezTo>
                  <a:pt x="41" y="265"/>
                  <a:pt x="41" y="265"/>
                  <a:pt x="41" y="265"/>
                </a:cubicBezTo>
                <a:cubicBezTo>
                  <a:pt x="43" y="265"/>
                  <a:pt x="43" y="265"/>
                  <a:pt x="43" y="265"/>
                </a:cubicBezTo>
                <a:cubicBezTo>
                  <a:pt x="45" y="265"/>
                  <a:pt x="45" y="265"/>
                  <a:pt x="45" y="265"/>
                </a:cubicBezTo>
                <a:cubicBezTo>
                  <a:pt x="48" y="264"/>
                  <a:pt x="48" y="264"/>
                  <a:pt x="48" y="264"/>
                </a:cubicBezTo>
                <a:cubicBezTo>
                  <a:pt x="50" y="264"/>
                  <a:pt x="50" y="264"/>
                  <a:pt x="50" y="264"/>
                </a:cubicBezTo>
                <a:cubicBezTo>
                  <a:pt x="52" y="264"/>
                  <a:pt x="52" y="264"/>
                  <a:pt x="52" y="264"/>
                </a:cubicBezTo>
                <a:cubicBezTo>
                  <a:pt x="52" y="264"/>
                  <a:pt x="52" y="264"/>
                  <a:pt x="52" y="264"/>
                </a:cubicBezTo>
                <a:cubicBezTo>
                  <a:pt x="53" y="264"/>
                  <a:pt x="53" y="264"/>
                  <a:pt x="53" y="264"/>
                </a:cubicBezTo>
                <a:cubicBezTo>
                  <a:pt x="54" y="264"/>
                  <a:pt x="54" y="264"/>
                  <a:pt x="54" y="264"/>
                </a:cubicBezTo>
                <a:cubicBezTo>
                  <a:pt x="55" y="264"/>
                  <a:pt x="55" y="264"/>
                  <a:pt x="55" y="264"/>
                </a:cubicBezTo>
                <a:cubicBezTo>
                  <a:pt x="55" y="266"/>
                  <a:pt x="55" y="266"/>
                  <a:pt x="55" y="266"/>
                </a:cubicBezTo>
                <a:cubicBezTo>
                  <a:pt x="55" y="267"/>
                  <a:pt x="55" y="267"/>
                  <a:pt x="55" y="267"/>
                </a:cubicBezTo>
                <a:cubicBezTo>
                  <a:pt x="55" y="267"/>
                  <a:pt x="55" y="267"/>
                  <a:pt x="55" y="267"/>
                </a:cubicBezTo>
                <a:cubicBezTo>
                  <a:pt x="55" y="267"/>
                  <a:pt x="55" y="267"/>
                  <a:pt x="55" y="267"/>
                </a:cubicBezTo>
                <a:cubicBezTo>
                  <a:pt x="55" y="268"/>
                  <a:pt x="55" y="268"/>
                  <a:pt x="55" y="268"/>
                </a:cubicBezTo>
                <a:cubicBezTo>
                  <a:pt x="55" y="268"/>
                  <a:pt x="55" y="268"/>
                  <a:pt x="55" y="268"/>
                </a:cubicBezTo>
                <a:cubicBezTo>
                  <a:pt x="52" y="268"/>
                  <a:pt x="52" y="268"/>
                  <a:pt x="52" y="268"/>
                </a:cubicBezTo>
                <a:cubicBezTo>
                  <a:pt x="49" y="268"/>
                  <a:pt x="49" y="268"/>
                  <a:pt x="49" y="268"/>
                </a:cubicBezTo>
                <a:cubicBezTo>
                  <a:pt x="47" y="268"/>
                  <a:pt x="47" y="268"/>
                  <a:pt x="47" y="268"/>
                </a:cubicBezTo>
                <a:cubicBezTo>
                  <a:pt x="45" y="269"/>
                  <a:pt x="45" y="269"/>
                  <a:pt x="45" y="269"/>
                </a:cubicBezTo>
                <a:cubicBezTo>
                  <a:pt x="43" y="269"/>
                  <a:pt x="43" y="269"/>
                  <a:pt x="43" y="269"/>
                </a:cubicBezTo>
                <a:cubicBezTo>
                  <a:pt x="42" y="269"/>
                  <a:pt x="42" y="269"/>
                  <a:pt x="42" y="269"/>
                </a:cubicBezTo>
                <a:cubicBezTo>
                  <a:pt x="39" y="269"/>
                  <a:pt x="39" y="269"/>
                  <a:pt x="39" y="269"/>
                </a:cubicBezTo>
                <a:lnTo>
                  <a:pt x="40" y="267"/>
                </a:lnTo>
                <a:close/>
                <a:moveTo>
                  <a:pt x="38" y="274"/>
                </a:moveTo>
                <a:cubicBezTo>
                  <a:pt x="38" y="272"/>
                  <a:pt x="38" y="272"/>
                  <a:pt x="38" y="272"/>
                </a:cubicBezTo>
                <a:cubicBezTo>
                  <a:pt x="40" y="275"/>
                  <a:pt x="40" y="275"/>
                  <a:pt x="40" y="275"/>
                </a:cubicBezTo>
                <a:cubicBezTo>
                  <a:pt x="40" y="276"/>
                  <a:pt x="40" y="276"/>
                  <a:pt x="40" y="276"/>
                </a:cubicBezTo>
                <a:cubicBezTo>
                  <a:pt x="39" y="276"/>
                  <a:pt x="39" y="276"/>
                  <a:pt x="39" y="276"/>
                </a:cubicBezTo>
                <a:cubicBezTo>
                  <a:pt x="39" y="277"/>
                  <a:pt x="39" y="277"/>
                  <a:pt x="39" y="277"/>
                </a:cubicBezTo>
                <a:cubicBezTo>
                  <a:pt x="38" y="277"/>
                  <a:pt x="38" y="277"/>
                  <a:pt x="38" y="277"/>
                </a:cubicBezTo>
                <a:cubicBezTo>
                  <a:pt x="37" y="278"/>
                  <a:pt x="37" y="278"/>
                  <a:pt x="37" y="278"/>
                </a:cubicBezTo>
                <a:cubicBezTo>
                  <a:pt x="37" y="279"/>
                  <a:pt x="37" y="279"/>
                  <a:pt x="37" y="279"/>
                </a:cubicBezTo>
                <a:cubicBezTo>
                  <a:pt x="37" y="278"/>
                  <a:pt x="37" y="278"/>
                  <a:pt x="37" y="278"/>
                </a:cubicBezTo>
                <a:cubicBezTo>
                  <a:pt x="37" y="278"/>
                  <a:pt x="38" y="277"/>
                  <a:pt x="38" y="277"/>
                </a:cubicBezTo>
                <a:cubicBezTo>
                  <a:pt x="38" y="276"/>
                  <a:pt x="38" y="276"/>
                  <a:pt x="38" y="276"/>
                </a:cubicBezTo>
                <a:cubicBezTo>
                  <a:pt x="38" y="275"/>
                  <a:pt x="38" y="275"/>
                  <a:pt x="38" y="275"/>
                </a:cubicBezTo>
                <a:lnTo>
                  <a:pt x="38" y="274"/>
                </a:lnTo>
                <a:close/>
                <a:moveTo>
                  <a:pt x="35" y="271"/>
                </a:moveTo>
                <a:cubicBezTo>
                  <a:pt x="34" y="267"/>
                  <a:pt x="34" y="267"/>
                  <a:pt x="34" y="267"/>
                </a:cubicBezTo>
                <a:cubicBezTo>
                  <a:pt x="33" y="265"/>
                  <a:pt x="33" y="265"/>
                  <a:pt x="33" y="265"/>
                </a:cubicBezTo>
                <a:cubicBezTo>
                  <a:pt x="34" y="265"/>
                  <a:pt x="34" y="265"/>
                  <a:pt x="34" y="265"/>
                </a:cubicBezTo>
                <a:cubicBezTo>
                  <a:pt x="37" y="265"/>
                  <a:pt x="37" y="265"/>
                  <a:pt x="37" y="265"/>
                </a:cubicBezTo>
                <a:cubicBezTo>
                  <a:pt x="38" y="265"/>
                  <a:pt x="38" y="265"/>
                  <a:pt x="38" y="265"/>
                </a:cubicBezTo>
                <a:cubicBezTo>
                  <a:pt x="38" y="265"/>
                  <a:pt x="38" y="265"/>
                  <a:pt x="38" y="265"/>
                </a:cubicBezTo>
                <a:cubicBezTo>
                  <a:pt x="38" y="266"/>
                  <a:pt x="38" y="267"/>
                  <a:pt x="37" y="268"/>
                </a:cubicBezTo>
                <a:cubicBezTo>
                  <a:pt x="37" y="269"/>
                  <a:pt x="37" y="269"/>
                  <a:pt x="37" y="269"/>
                </a:cubicBezTo>
                <a:cubicBezTo>
                  <a:pt x="37" y="269"/>
                  <a:pt x="37" y="269"/>
                  <a:pt x="37" y="269"/>
                </a:cubicBezTo>
                <a:cubicBezTo>
                  <a:pt x="37" y="270"/>
                  <a:pt x="37" y="270"/>
                  <a:pt x="37" y="270"/>
                </a:cubicBezTo>
                <a:cubicBezTo>
                  <a:pt x="37" y="271"/>
                  <a:pt x="37" y="272"/>
                  <a:pt x="37" y="272"/>
                </a:cubicBezTo>
                <a:cubicBezTo>
                  <a:pt x="36" y="274"/>
                  <a:pt x="36" y="274"/>
                  <a:pt x="36" y="274"/>
                </a:cubicBezTo>
                <a:cubicBezTo>
                  <a:pt x="36" y="274"/>
                  <a:pt x="36" y="274"/>
                  <a:pt x="36" y="274"/>
                </a:cubicBezTo>
                <a:cubicBezTo>
                  <a:pt x="36" y="275"/>
                  <a:pt x="36" y="275"/>
                  <a:pt x="36" y="275"/>
                </a:cubicBezTo>
                <a:cubicBezTo>
                  <a:pt x="36" y="273"/>
                  <a:pt x="36" y="273"/>
                  <a:pt x="36" y="273"/>
                </a:cubicBezTo>
                <a:cubicBezTo>
                  <a:pt x="35" y="273"/>
                  <a:pt x="35" y="273"/>
                  <a:pt x="35" y="273"/>
                </a:cubicBezTo>
                <a:lnTo>
                  <a:pt x="35" y="271"/>
                </a:lnTo>
                <a:close/>
                <a:moveTo>
                  <a:pt x="32" y="300"/>
                </a:moveTo>
                <a:cubicBezTo>
                  <a:pt x="33" y="299"/>
                  <a:pt x="33" y="299"/>
                  <a:pt x="33" y="299"/>
                </a:cubicBezTo>
                <a:cubicBezTo>
                  <a:pt x="33" y="298"/>
                  <a:pt x="33" y="298"/>
                  <a:pt x="33" y="298"/>
                </a:cubicBezTo>
                <a:cubicBezTo>
                  <a:pt x="33" y="297"/>
                  <a:pt x="33" y="297"/>
                  <a:pt x="33" y="297"/>
                </a:cubicBezTo>
                <a:cubicBezTo>
                  <a:pt x="33" y="297"/>
                  <a:pt x="33" y="296"/>
                  <a:pt x="33" y="296"/>
                </a:cubicBezTo>
                <a:cubicBezTo>
                  <a:pt x="34" y="294"/>
                  <a:pt x="34" y="294"/>
                  <a:pt x="34" y="294"/>
                </a:cubicBezTo>
                <a:cubicBezTo>
                  <a:pt x="34" y="293"/>
                  <a:pt x="34" y="293"/>
                  <a:pt x="34" y="293"/>
                </a:cubicBezTo>
                <a:cubicBezTo>
                  <a:pt x="34" y="293"/>
                  <a:pt x="34" y="293"/>
                  <a:pt x="34" y="293"/>
                </a:cubicBezTo>
                <a:cubicBezTo>
                  <a:pt x="34" y="292"/>
                  <a:pt x="34" y="292"/>
                  <a:pt x="34" y="292"/>
                </a:cubicBezTo>
                <a:cubicBezTo>
                  <a:pt x="34" y="292"/>
                  <a:pt x="34" y="292"/>
                  <a:pt x="34" y="292"/>
                </a:cubicBezTo>
                <a:cubicBezTo>
                  <a:pt x="35" y="291"/>
                  <a:pt x="35" y="291"/>
                  <a:pt x="35" y="290"/>
                </a:cubicBezTo>
                <a:cubicBezTo>
                  <a:pt x="35" y="289"/>
                  <a:pt x="35" y="289"/>
                  <a:pt x="35" y="289"/>
                </a:cubicBezTo>
                <a:cubicBezTo>
                  <a:pt x="35" y="289"/>
                  <a:pt x="35" y="289"/>
                  <a:pt x="35" y="289"/>
                </a:cubicBezTo>
                <a:cubicBezTo>
                  <a:pt x="38" y="291"/>
                  <a:pt x="38" y="291"/>
                  <a:pt x="38" y="291"/>
                </a:cubicBezTo>
                <a:cubicBezTo>
                  <a:pt x="42" y="294"/>
                  <a:pt x="42" y="294"/>
                  <a:pt x="42" y="294"/>
                </a:cubicBezTo>
                <a:cubicBezTo>
                  <a:pt x="41" y="294"/>
                  <a:pt x="41" y="294"/>
                  <a:pt x="41" y="294"/>
                </a:cubicBezTo>
                <a:cubicBezTo>
                  <a:pt x="40" y="294"/>
                  <a:pt x="40" y="294"/>
                  <a:pt x="40" y="294"/>
                </a:cubicBezTo>
                <a:cubicBezTo>
                  <a:pt x="40" y="295"/>
                  <a:pt x="40" y="295"/>
                  <a:pt x="40" y="295"/>
                </a:cubicBezTo>
                <a:cubicBezTo>
                  <a:pt x="39" y="296"/>
                  <a:pt x="39" y="296"/>
                  <a:pt x="39" y="296"/>
                </a:cubicBezTo>
                <a:cubicBezTo>
                  <a:pt x="38" y="296"/>
                  <a:pt x="38" y="296"/>
                  <a:pt x="38" y="296"/>
                </a:cubicBezTo>
                <a:cubicBezTo>
                  <a:pt x="38" y="296"/>
                  <a:pt x="38" y="296"/>
                  <a:pt x="38" y="296"/>
                </a:cubicBezTo>
                <a:cubicBezTo>
                  <a:pt x="37" y="297"/>
                  <a:pt x="37" y="297"/>
                  <a:pt x="37" y="297"/>
                </a:cubicBezTo>
                <a:cubicBezTo>
                  <a:pt x="37" y="297"/>
                  <a:pt x="37" y="297"/>
                  <a:pt x="37" y="297"/>
                </a:cubicBezTo>
                <a:cubicBezTo>
                  <a:pt x="35" y="298"/>
                  <a:pt x="35" y="298"/>
                  <a:pt x="35" y="298"/>
                </a:cubicBezTo>
                <a:cubicBezTo>
                  <a:pt x="34" y="299"/>
                  <a:pt x="34" y="299"/>
                  <a:pt x="34" y="299"/>
                </a:cubicBezTo>
                <a:cubicBezTo>
                  <a:pt x="34" y="299"/>
                  <a:pt x="34" y="299"/>
                  <a:pt x="34" y="299"/>
                </a:cubicBezTo>
                <a:cubicBezTo>
                  <a:pt x="33" y="299"/>
                  <a:pt x="33" y="299"/>
                  <a:pt x="33" y="299"/>
                </a:cubicBezTo>
                <a:cubicBezTo>
                  <a:pt x="32" y="300"/>
                  <a:pt x="32" y="300"/>
                  <a:pt x="32" y="300"/>
                </a:cubicBezTo>
                <a:cubicBezTo>
                  <a:pt x="32" y="300"/>
                  <a:pt x="32" y="300"/>
                  <a:pt x="32" y="300"/>
                </a:cubicBezTo>
                <a:close/>
                <a:moveTo>
                  <a:pt x="27" y="316"/>
                </a:moveTo>
                <a:cubicBezTo>
                  <a:pt x="28" y="315"/>
                  <a:pt x="28" y="315"/>
                  <a:pt x="28" y="315"/>
                </a:cubicBezTo>
                <a:cubicBezTo>
                  <a:pt x="28" y="314"/>
                  <a:pt x="28" y="314"/>
                  <a:pt x="28" y="314"/>
                </a:cubicBezTo>
                <a:cubicBezTo>
                  <a:pt x="28" y="313"/>
                  <a:pt x="28" y="313"/>
                  <a:pt x="28" y="312"/>
                </a:cubicBezTo>
                <a:cubicBezTo>
                  <a:pt x="29" y="311"/>
                  <a:pt x="29" y="311"/>
                  <a:pt x="29" y="311"/>
                </a:cubicBezTo>
                <a:cubicBezTo>
                  <a:pt x="29" y="310"/>
                  <a:pt x="29" y="310"/>
                  <a:pt x="29" y="310"/>
                </a:cubicBezTo>
                <a:cubicBezTo>
                  <a:pt x="29" y="309"/>
                  <a:pt x="29" y="309"/>
                  <a:pt x="29" y="309"/>
                </a:cubicBezTo>
                <a:cubicBezTo>
                  <a:pt x="30" y="308"/>
                  <a:pt x="30" y="308"/>
                  <a:pt x="30" y="308"/>
                </a:cubicBezTo>
                <a:cubicBezTo>
                  <a:pt x="30" y="308"/>
                  <a:pt x="30" y="307"/>
                  <a:pt x="30" y="307"/>
                </a:cubicBezTo>
                <a:cubicBezTo>
                  <a:pt x="31" y="305"/>
                  <a:pt x="31" y="305"/>
                  <a:pt x="31" y="305"/>
                </a:cubicBezTo>
                <a:cubicBezTo>
                  <a:pt x="31" y="304"/>
                  <a:pt x="31" y="304"/>
                  <a:pt x="31" y="304"/>
                </a:cubicBezTo>
                <a:cubicBezTo>
                  <a:pt x="31" y="304"/>
                  <a:pt x="31" y="304"/>
                  <a:pt x="31" y="304"/>
                </a:cubicBezTo>
                <a:cubicBezTo>
                  <a:pt x="35" y="307"/>
                  <a:pt x="35" y="307"/>
                  <a:pt x="35" y="307"/>
                </a:cubicBezTo>
                <a:cubicBezTo>
                  <a:pt x="38" y="310"/>
                  <a:pt x="38" y="310"/>
                  <a:pt x="38" y="310"/>
                </a:cubicBezTo>
                <a:cubicBezTo>
                  <a:pt x="38" y="310"/>
                  <a:pt x="38" y="310"/>
                  <a:pt x="38" y="310"/>
                </a:cubicBezTo>
                <a:cubicBezTo>
                  <a:pt x="38" y="310"/>
                  <a:pt x="38" y="310"/>
                  <a:pt x="38" y="310"/>
                </a:cubicBezTo>
                <a:cubicBezTo>
                  <a:pt x="37" y="311"/>
                  <a:pt x="37" y="311"/>
                  <a:pt x="37" y="311"/>
                </a:cubicBezTo>
                <a:cubicBezTo>
                  <a:pt x="35" y="312"/>
                  <a:pt x="35" y="312"/>
                  <a:pt x="35" y="312"/>
                </a:cubicBezTo>
                <a:cubicBezTo>
                  <a:pt x="34" y="312"/>
                  <a:pt x="34" y="312"/>
                  <a:pt x="34" y="312"/>
                </a:cubicBezTo>
                <a:cubicBezTo>
                  <a:pt x="33" y="313"/>
                  <a:pt x="33" y="313"/>
                  <a:pt x="33" y="313"/>
                </a:cubicBezTo>
                <a:cubicBezTo>
                  <a:pt x="33" y="313"/>
                  <a:pt x="33" y="313"/>
                  <a:pt x="33" y="313"/>
                </a:cubicBezTo>
                <a:cubicBezTo>
                  <a:pt x="32" y="314"/>
                  <a:pt x="32" y="314"/>
                  <a:pt x="32" y="314"/>
                </a:cubicBezTo>
                <a:cubicBezTo>
                  <a:pt x="31" y="314"/>
                  <a:pt x="31" y="314"/>
                  <a:pt x="31" y="314"/>
                </a:cubicBezTo>
                <a:cubicBezTo>
                  <a:pt x="29" y="315"/>
                  <a:pt x="29" y="315"/>
                  <a:pt x="29" y="315"/>
                </a:cubicBezTo>
                <a:cubicBezTo>
                  <a:pt x="29" y="316"/>
                  <a:pt x="29" y="316"/>
                  <a:pt x="29" y="316"/>
                </a:cubicBezTo>
                <a:cubicBezTo>
                  <a:pt x="28" y="316"/>
                  <a:pt x="28" y="316"/>
                  <a:pt x="28" y="316"/>
                </a:cubicBezTo>
                <a:cubicBezTo>
                  <a:pt x="27" y="317"/>
                  <a:pt x="27" y="317"/>
                  <a:pt x="27" y="317"/>
                </a:cubicBezTo>
                <a:lnTo>
                  <a:pt x="27" y="316"/>
                </a:lnTo>
                <a:close/>
                <a:moveTo>
                  <a:pt x="21" y="331"/>
                </a:moveTo>
                <a:cubicBezTo>
                  <a:pt x="21" y="331"/>
                  <a:pt x="21" y="331"/>
                  <a:pt x="21" y="331"/>
                </a:cubicBezTo>
                <a:cubicBezTo>
                  <a:pt x="21" y="330"/>
                  <a:pt x="21" y="330"/>
                  <a:pt x="21" y="330"/>
                </a:cubicBezTo>
                <a:cubicBezTo>
                  <a:pt x="22" y="329"/>
                  <a:pt x="22" y="329"/>
                  <a:pt x="22" y="329"/>
                </a:cubicBezTo>
                <a:cubicBezTo>
                  <a:pt x="22" y="329"/>
                  <a:pt x="22" y="329"/>
                  <a:pt x="22" y="329"/>
                </a:cubicBezTo>
                <a:cubicBezTo>
                  <a:pt x="23" y="328"/>
                  <a:pt x="23" y="328"/>
                  <a:pt x="23" y="328"/>
                </a:cubicBezTo>
                <a:cubicBezTo>
                  <a:pt x="23" y="326"/>
                  <a:pt x="23" y="326"/>
                  <a:pt x="23" y="326"/>
                </a:cubicBezTo>
                <a:cubicBezTo>
                  <a:pt x="24" y="325"/>
                  <a:pt x="24" y="325"/>
                  <a:pt x="24" y="325"/>
                </a:cubicBezTo>
                <a:cubicBezTo>
                  <a:pt x="24" y="324"/>
                  <a:pt x="24" y="324"/>
                  <a:pt x="24" y="324"/>
                </a:cubicBezTo>
                <a:cubicBezTo>
                  <a:pt x="24" y="324"/>
                  <a:pt x="24" y="324"/>
                  <a:pt x="24" y="324"/>
                </a:cubicBezTo>
                <a:cubicBezTo>
                  <a:pt x="25" y="323"/>
                  <a:pt x="25" y="323"/>
                  <a:pt x="25" y="323"/>
                </a:cubicBezTo>
                <a:cubicBezTo>
                  <a:pt x="25" y="322"/>
                  <a:pt x="25" y="322"/>
                  <a:pt x="25" y="322"/>
                </a:cubicBezTo>
                <a:cubicBezTo>
                  <a:pt x="25" y="322"/>
                  <a:pt x="25" y="322"/>
                  <a:pt x="25" y="322"/>
                </a:cubicBezTo>
                <a:cubicBezTo>
                  <a:pt x="25" y="321"/>
                  <a:pt x="25" y="321"/>
                  <a:pt x="25" y="321"/>
                </a:cubicBezTo>
                <a:cubicBezTo>
                  <a:pt x="25" y="321"/>
                  <a:pt x="25" y="321"/>
                  <a:pt x="25" y="321"/>
                </a:cubicBezTo>
                <a:cubicBezTo>
                  <a:pt x="29" y="323"/>
                  <a:pt x="29" y="323"/>
                  <a:pt x="29" y="323"/>
                </a:cubicBezTo>
                <a:cubicBezTo>
                  <a:pt x="34" y="326"/>
                  <a:pt x="34" y="326"/>
                  <a:pt x="34" y="326"/>
                </a:cubicBezTo>
                <a:cubicBezTo>
                  <a:pt x="33" y="327"/>
                  <a:pt x="33" y="327"/>
                  <a:pt x="33" y="327"/>
                </a:cubicBezTo>
                <a:cubicBezTo>
                  <a:pt x="32" y="327"/>
                  <a:pt x="32" y="327"/>
                  <a:pt x="32" y="327"/>
                </a:cubicBezTo>
                <a:cubicBezTo>
                  <a:pt x="31" y="328"/>
                  <a:pt x="31" y="328"/>
                  <a:pt x="31" y="328"/>
                </a:cubicBezTo>
                <a:cubicBezTo>
                  <a:pt x="31" y="328"/>
                  <a:pt x="31" y="328"/>
                  <a:pt x="31" y="328"/>
                </a:cubicBezTo>
                <a:cubicBezTo>
                  <a:pt x="30" y="328"/>
                  <a:pt x="30" y="328"/>
                  <a:pt x="30" y="328"/>
                </a:cubicBezTo>
                <a:cubicBezTo>
                  <a:pt x="30" y="329"/>
                  <a:pt x="30" y="329"/>
                  <a:pt x="30" y="329"/>
                </a:cubicBezTo>
                <a:cubicBezTo>
                  <a:pt x="29" y="329"/>
                  <a:pt x="29" y="329"/>
                  <a:pt x="29" y="329"/>
                </a:cubicBezTo>
                <a:cubicBezTo>
                  <a:pt x="28" y="329"/>
                  <a:pt x="28" y="329"/>
                  <a:pt x="28" y="329"/>
                </a:cubicBezTo>
                <a:cubicBezTo>
                  <a:pt x="27" y="330"/>
                  <a:pt x="27" y="330"/>
                  <a:pt x="27" y="330"/>
                </a:cubicBezTo>
                <a:cubicBezTo>
                  <a:pt x="26" y="331"/>
                  <a:pt x="26" y="331"/>
                  <a:pt x="26" y="331"/>
                </a:cubicBezTo>
                <a:cubicBezTo>
                  <a:pt x="25" y="331"/>
                  <a:pt x="25" y="331"/>
                  <a:pt x="25" y="331"/>
                </a:cubicBezTo>
                <a:cubicBezTo>
                  <a:pt x="24" y="331"/>
                  <a:pt x="24" y="331"/>
                  <a:pt x="24" y="331"/>
                </a:cubicBezTo>
                <a:cubicBezTo>
                  <a:pt x="23" y="332"/>
                  <a:pt x="23" y="332"/>
                  <a:pt x="23" y="332"/>
                </a:cubicBezTo>
                <a:cubicBezTo>
                  <a:pt x="23" y="332"/>
                  <a:pt x="23" y="332"/>
                  <a:pt x="23" y="332"/>
                </a:cubicBezTo>
                <a:cubicBezTo>
                  <a:pt x="22" y="333"/>
                  <a:pt x="22" y="333"/>
                  <a:pt x="22" y="333"/>
                </a:cubicBezTo>
                <a:cubicBezTo>
                  <a:pt x="20" y="334"/>
                  <a:pt x="20" y="334"/>
                  <a:pt x="20" y="334"/>
                </a:cubicBezTo>
                <a:cubicBezTo>
                  <a:pt x="20" y="333"/>
                  <a:pt x="21" y="332"/>
                  <a:pt x="21" y="331"/>
                </a:cubicBezTo>
                <a:close/>
                <a:moveTo>
                  <a:pt x="16" y="342"/>
                </a:moveTo>
                <a:cubicBezTo>
                  <a:pt x="16" y="342"/>
                  <a:pt x="16" y="342"/>
                  <a:pt x="16" y="342"/>
                </a:cubicBezTo>
                <a:cubicBezTo>
                  <a:pt x="16" y="341"/>
                  <a:pt x="16" y="341"/>
                  <a:pt x="16" y="341"/>
                </a:cubicBezTo>
                <a:cubicBezTo>
                  <a:pt x="17" y="340"/>
                  <a:pt x="17" y="340"/>
                  <a:pt x="17" y="340"/>
                </a:cubicBezTo>
                <a:cubicBezTo>
                  <a:pt x="17" y="339"/>
                  <a:pt x="17" y="339"/>
                  <a:pt x="17" y="339"/>
                </a:cubicBezTo>
                <a:cubicBezTo>
                  <a:pt x="18" y="339"/>
                  <a:pt x="18" y="339"/>
                  <a:pt x="18" y="339"/>
                </a:cubicBezTo>
                <a:cubicBezTo>
                  <a:pt x="18" y="338"/>
                  <a:pt x="18" y="338"/>
                  <a:pt x="18" y="338"/>
                </a:cubicBezTo>
                <a:cubicBezTo>
                  <a:pt x="18" y="338"/>
                  <a:pt x="18" y="338"/>
                  <a:pt x="18" y="338"/>
                </a:cubicBezTo>
                <a:cubicBezTo>
                  <a:pt x="18" y="337"/>
                  <a:pt x="18" y="337"/>
                  <a:pt x="18" y="337"/>
                </a:cubicBezTo>
                <a:cubicBezTo>
                  <a:pt x="22" y="340"/>
                  <a:pt x="22" y="340"/>
                  <a:pt x="22" y="340"/>
                </a:cubicBezTo>
                <a:cubicBezTo>
                  <a:pt x="26" y="342"/>
                  <a:pt x="26" y="342"/>
                  <a:pt x="26" y="342"/>
                </a:cubicBezTo>
                <a:cubicBezTo>
                  <a:pt x="25" y="342"/>
                  <a:pt x="25" y="342"/>
                  <a:pt x="25" y="342"/>
                </a:cubicBezTo>
                <a:cubicBezTo>
                  <a:pt x="24" y="342"/>
                  <a:pt x="24" y="342"/>
                  <a:pt x="24" y="342"/>
                </a:cubicBezTo>
                <a:cubicBezTo>
                  <a:pt x="24" y="342"/>
                  <a:pt x="24" y="342"/>
                  <a:pt x="24" y="342"/>
                </a:cubicBezTo>
                <a:cubicBezTo>
                  <a:pt x="24" y="342"/>
                  <a:pt x="24" y="342"/>
                  <a:pt x="24" y="342"/>
                </a:cubicBezTo>
                <a:cubicBezTo>
                  <a:pt x="23" y="342"/>
                  <a:pt x="23" y="342"/>
                  <a:pt x="23" y="342"/>
                </a:cubicBezTo>
                <a:cubicBezTo>
                  <a:pt x="22" y="342"/>
                  <a:pt x="22" y="342"/>
                  <a:pt x="22" y="342"/>
                </a:cubicBezTo>
                <a:cubicBezTo>
                  <a:pt x="22" y="342"/>
                  <a:pt x="22" y="342"/>
                  <a:pt x="22" y="342"/>
                </a:cubicBezTo>
                <a:cubicBezTo>
                  <a:pt x="21" y="342"/>
                  <a:pt x="21" y="342"/>
                  <a:pt x="21" y="342"/>
                </a:cubicBezTo>
                <a:cubicBezTo>
                  <a:pt x="19" y="342"/>
                  <a:pt x="19" y="342"/>
                  <a:pt x="19" y="342"/>
                </a:cubicBezTo>
                <a:cubicBezTo>
                  <a:pt x="18" y="342"/>
                  <a:pt x="18" y="342"/>
                  <a:pt x="18" y="342"/>
                </a:cubicBezTo>
                <a:cubicBezTo>
                  <a:pt x="17" y="342"/>
                  <a:pt x="17" y="342"/>
                  <a:pt x="17" y="342"/>
                </a:cubicBezTo>
                <a:cubicBezTo>
                  <a:pt x="16" y="342"/>
                  <a:pt x="16" y="342"/>
                  <a:pt x="16" y="342"/>
                </a:cubicBezTo>
                <a:cubicBezTo>
                  <a:pt x="16" y="342"/>
                  <a:pt x="16" y="342"/>
                  <a:pt x="16" y="342"/>
                </a:cubicBezTo>
                <a:cubicBezTo>
                  <a:pt x="16" y="342"/>
                  <a:pt x="16" y="342"/>
                  <a:pt x="16" y="342"/>
                </a:cubicBezTo>
                <a:cubicBezTo>
                  <a:pt x="16" y="342"/>
                  <a:pt x="16" y="342"/>
                  <a:pt x="16" y="342"/>
                </a:cubicBezTo>
                <a:cubicBezTo>
                  <a:pt x="16" y="343"/>
                  <a:pt x="16" y="343"/>
                  <a:pt x="16" y="343"/>
                </a:cubicBezTo>
                <a:lnTo>
                  <a:pt x="16" y="342"/>
                </a:lnTo>
                <a:close/>
                <a:moveTo>
                  <a:pt x="11" y="364"/>
                </a:moveTo>
                <a:cubicBezTo>
                  <a:pt x="12" y="362"/>
                  <a:pt x="12" y="362"/>
                  <a:pt x="12" y="362"/>
                </a:cubicBezTo>
                <a:cubicBezTo>
                  <a:pt x="13" y="361"/>
                  <a:pt x="13" y="361"/>
                  <a:pt x="13" y="361"/>
                </a:cubicBezTo>
                <a:cubicBezTo>
                  <a:pt x="15" y="364"/>
                  <a:pt x="15" y="364"/>
                  <a:pt x="15" y="364"/>
                </a:cubicBezTo>
                <a:cubicBezTo>
                  <a:pt x="14" y="364"/>
                  <a:pt x="14" y="364"/>
                  <a:pt x="14" y="364"/>
                </a:cubicBezTo>
                <a:cubicBezTo>
                  <a:pt x="11" y="364"/>
                  <a:pt x="11" y="364"/>
                  <a:pt x="11" y="364"/>
                </a:cubicBezTo>
                <a:cubicBezTo>
                  <a:pt x="11" y="364"/>
                  <a:pt x="11" y="364"/>
                  <a:pt x="11" y="364"/>
                </a:cubicBezTo>
                <a:close/>
                <a:moveTo>
                  <a:pt x="10" y="362"/>
                </a:moveTo>
                <a:cubicBezTo>
                  <a:pt x="10" y="360"/>
                  <a:pt x="10" y="360"/>
                  <a:pt x="10" y="360"/>
                </a:cubicBezTo>
                <a:cubicBezTo>
                  <a:pt x="10" y="358"/>
                  <a:pt x="10" y="358"/>
                  <a:pt x="10" y="358"/>
                </a:cubicBezTo>
                <a:cubicBezTo>
                  <a:pt x="10" y="357"/>
                  <a:pt x="10" y="357"/>
                  <a:pt x="10" y="357"/>
                </a:cubicBezTo>
                <a:cubicBezTo>
                  <a:pt x="12" y="359"/>
                  <a:pt x="12" y="359"/>
                  <a:pt x="12" y="359"/>
                </a:cubicBezTo>
                <a:cubicBezTo>
                  <a:pt x="12" y="360"/>
                  <a:pt x="12" y="360"/>
                  <a:pt x="12" y="360"/>
                </a:cubicBezTo>
                <a:cubicBezTo>
                  <a:pt x="11" y="360"/>
                  <a:pt x="11" y="360"/>
                  <a:pt x="11" y="360"/>
                </a:cubicBezTo>
                <a:lnTo>
                  <a:pt x="10" y="362"/>
                </a:lnTo>
                <a:close/>
                <a:moveTo>
                  <a:pt x="15" y="370"/>
                </a:moveTo>
                <a:cubicBezTo>
                  <a:pt x="16" y="368"/>
                  <a:pt x="16" y="368"/>
                  <a:pt x="16" y="368"/>
                </a:cubicBezTo>
                <a:cubicBezTo>
                  <a:pt x="16" y="368"/>
                  <a:pt x="16" y="368"/>
                  <a:pt x="16" y="368"/>
                </a:cubicBezTo>
                <a:cubicBezTo>
                  <a:pt x="16" y="369"/>
                  <a:pt x="16" y="369"/>
                  <a:pt x="16" y="369"/>
                </a:cubicBezTo>
                <a:cubicBezTo>
                  <a:pt x="17" y="370"/>
                  <a:pt x="17" y="370"/>
                  <a:pt x="17" y="370"/>
                </a:cubicBezTo>
                <a:cubicBezTo>
                  <a:pt x="16" y="370"/>
                  <a:pt x="16" y="370"/>
                  <a:pt x="16" y="370"/>
                </a:cubicBezTo>
                <a:cubicBezTo>
                  <a:pt x="14" y="372"/>
                  <a:pt x="14" y="372"/>
                  <a:pt x="14" y="372"/>
                </a:cubicBezTo>
                <a:lnTo>
                  <a:pt x="15" y="370"/>
                </a:lnTo>
                <a:close/>
                <a:moveTo>
                  <a:pt x="16" y="359"/>
                </a:moveTo>
                <a:cubicBezTo>
                  <a:pt x="16" y="361"/>
                  <a:pt x="16" y="361"/>
                  <a:pt x="16" y="361"/>
                </a:cubicBezTo>
                <a:cubicBezTo>
                  <a:pt x="16" y="362"/>
                  <a:pt x="16" y="362"/>
                  <a:pt x="16" y="362"/>
                </a:cubicBezTo>
                <a:cubicBezTo>
                  <a:pt x="14" y="359"/>
                  <a:pt x="14" y="359"/>
                  <a:pt x="14" y="359"/>
                </a:cubicBezTo>
                <a:cubicBezTo>
                  <a:pt x="14" y="359"/>
                  <a:pt x="14" y="359"/>
                  <a:pt x="14" y="359"/>
                </a:cubicBezTo>
                <a:cubicBezTo>
                  <a:pt x="15" y="358"/>
                  <a:pt x="15" y="358"/>
                  <a:pt x="15" y="358"/>
                </a:cubicBezTo>
                <a:cubicBezTo>
                  <a:pt x="16" y="357"/>
                  <a:pt x="16" y="357"/>
                  <a:pt x="16" y="357"/>
                </a:cubicBezTo>
                <a:lnTo>
                  <a:pt x="16" y="359"/>
                </a:lnTo>
                <a:close/>
                <a:moveTo>
                  <a:pt x="14" y="348"/>
                </a:moveTo>
                <a:cubicBezTo>
                  <a:pt x="14" y="348"/>
                  <a:pt x="14" y="348"/>
                  <a:pt x="14" y="348"/>
                </a:cubicBezTo>
                <a:cubicBezTo>
                  <a:pt x="15" y="348"/>
                  <a:pt x="15" y="348"/>
                  <a:pt x="15" y="348"/>
                </a:cubicBezTo>
                <a:cubicBezTo>
                  <a:pt x="15" y="347"/>
                  <a:pt x="15" y="347"/>
                  <a:pt x="15" y="347"/>
                </a:cubicBezTo>
                <a:cubicBezTo>
                  <a:pt x="15" y="346"/>
                  <a:pt x="15" y="346"/>
                  <a:pt x="15" y="346"/>
                </a:cubicBezTo>
                <a:cubicBezTo>
                  <a:pt x="15" y="347"/>
                  <a:pt x="15" y="347"/>
                  <a:pt x="15" y="347"/>
                </a:cubicBezTo>
                <a:cubicBezTo>
                  <a:pt x="15" y="348"/>
                  <a:pt x="15" y="348"/>
                  <a:pt x="15" y="348"/>
                </a:cubicBezTo>
                <a:cubicBezTo>
                  <a:pt x="15" y="349"/>
                  <a:pt x="15" y="349"/>
                  <a:pt x="15" y="349"/>
                </a:cubicBezTo>
                <a:cubicBezTo>
                  <a:pt x="15" y="350"/>
                  <a:pt x="15" y="350"/>
                  <a:pt x="15" y="350"/>
                </a:cubicBezTo>
                <a:cubicBezTo>
                  <a:pt x="15" y="350"/>
                  <a:pt x="15" y="350"/>
                  <a:pt x="15" y="350"/>
                </a:cubicBezTo>
                <a:cubicBezTo>
                  <a:pt x="15" y="350"/>
                  <a:pt x="15" y="350"/>
                  <a:pt x="15" y="350"/>
                </a:cubicBezTo>
                <a:cubicBezTo>
                  <a:pt x="14" y="349"/>
                  <a:pt x="14" y="349"/>
                  <a:pt x="14" y="349"/>
                </a:cubicBezTo>
                <a:lnTo>
                  <a:pt x="14" y="348"/>
                </a:lnTo>
                <a:close/>
                <a:moveTo>
                  <a:pt x="15" y="355"/>
                </a:moveTo>
                <a:cubicBezTo>
                  <a:pt x="13" y="357"/>
                  <a:pt x="13" y="357"/>
                  <a:pt x="13" y="357"/>
                </a:cubicBezTo>
                <a:cubicBezTo>
                  <a:pt x="13" y="358"/>
                  <a:pt x="13" y="358"/>
                  <a:pt x="13" y="358"/>
                </a:cubicBezTo>
                <a:cubicBezTo>
                  <a:pt x="11" y="355"/>
                  <a:pt x="11" y="355"/>
                  <a:pt x="11" y="355"/>
                </a:cubicBezTo>
                <a:cubicBezTo>
                  <a:pt x="12" y="355"/>
                  <a:pt x="12" y="355"/>
                  <a:pt x="12" y="355"/>
                </a:cubicBezTo>
                <a:lnTo>
                  <a:pt x="15" y="355"/>
                </a:lnTo>
                <a:close/>
                <a:moveTo>
                  <a:pt x="11" y="344"/>
                </a:moveTo>
                <a:cubicBezTo>
                  <a:pt x="13" y="344"/>
                  <a:pt x="13" y="344"/>
                  <a:pt x="13" y="344"/>
                </a:cubicBezTo>
                <a:cubicBezTo>
                  <a:pt x="12" y="345"/>
                  <a:pt x="12" y="345"/>
                  <a:pt x="12" y="345"/>
                </a:cubicBezTo>
                <a:cubicBezTo>
                  <a:pt x="12" y="346"/>
                  <a:pt x="12" y="346"/>
                  <a:pt x="12" y="346"/>
                </a:cubicBezTo>
                <a:cubicBezTo>
                  <a:pt x="12" y="346"/>
                  <a:pt x="12" y="346"/>
                  <a:pt x="12" y="346"/>
                </a:cubicBezTo>
                <a:cubicBezTo>
                  <a:pt x="12" y="346"/>
                  <a:pt x="12" y="346"/>
                  <a:pt x="12" y="346"/>
                </a:cubicBezTo>
                <a:cubicBezTo>
                  <a:pt x="12" y="346"/>
                  <a:pt x="12" y="346"/>
                  <a:pt x="12" y="346"/>
                </a:cubicBezTo>
                <a:cubicBezTo>
                  <a:pt x="11" y="345"/>
                  <a:pt x="11" y="345"/>
                  <a:pt x="11" y="345"/>
                </a:cubicBezTo>
                <a:cubicBezTo>
                  <a:pt x="10" y="344"/>
                  <a:pt x="10" y="344"/>
                  <a:pt x="10" y="344"/>
                </a:cubicBezTo>
                <a:lnTo>
                  <a:pt x="11" y="344"/>
                </a:lnTo>
                <a:close/>
                <a:moveTo>
                  <a:pt x="11" y="348"/>
                </a:moveTo>
                <a:cubicBezTo>
                  <a:pt x="11" y="348"/>
                  <a:pt x="11" y="348"/>
                  <a:pt x="11" y="348"/>
                </a:cubicBezTo>
                <a:cubicBezTo>
                  <a:pt x="10" y="349"/>
                  <a:pt x="10" y="349"/>
                  <a:pt x="10" y="349"/>
                </a:cubicBezTo>
                <a:cubicBezTo>
                  <a:pt x="10" y="350"/>
                  <a:pt x="10" y="350"/>
                  <a:pt x="10" y="350"/>
                </a:cubicBezTo>
                <a:cubicBezTo>
                  <a:pt x="10" y="348"/>
                  <a:pt x="10" y="348"/>
                  <a:pt x="10" y="348"/>
                </a:cubicBezTo>
                <a:cubicBezTo>
                  <a:pt x="10" y="348"/>
                  <a:pt x="10" y="348"/>
                  <a:pt x="10" y="348"/>
                </a:cubicBezTo>
                <a:cubicBezTo>
                  <a:pt x="10" y="346"/>
                  <a:pt x="10" y="346"/>
                  <a:pt x="10" y="346"/>
                </a:cubicBezTo>
                <a:lnTo>
                  <a:pt x="11" y="348"/>
                </a:lnTo>
                <a:close/>
                <a:moveTo>
                  <a:pt x="9" y="375"/>
                </a:moveTo>
                <a:cubicBezTo>
                  <a:pt x="8" y="375"/>
                  <a:pt x="8" y="375"/>
                  <a:pt x="8" y="375"/>
                </a:cubicBezTo>
                <a:cubicBezTo>
                  <a:pt x="5" y="375"/>
                  <a:pt x="5" y="375"/>
                  <a:pt x="5" y="375"/>
                </a:cubicBezTo>
                <a:cubicBezTo>
                  <a:pt x="7" y="374"/>
                  <a:pt x="7" y="374"/>
                  <a:pt x="7" y="374"/>
                </a:cubicBezTo>
                <a:cubicBezTo>
                  <a:pt x="7" y="373"/>
                  <a:pt x="7" y="373"/>
                  <a:pt x="7" y="373"/>
                </a:cubicBezTo>
                <a:cubicBezTo>
                  <a:pt x="8" y="373"/>
                  <a:pt x="8" y="373"/>
                  <a:pt x="8" y="373"/>
                </a:cubicBezTo>
                <a:cubicBezTo>
                  <a:pt x="9" y="372"/>
                  <a:pt x="9" y="372"/>
                  <a:pt x="9" y="372"/>
                </a:cubicBezTo>
                <a:cubicBezTo>
                  <a:pt x="10" y="374"/>
                  <a:pt x="10" y="374"/>
                  <a:pt x="10" y="374"/>
                </a:cubicBezTo>
                <a:cubicBezTo>
                  <a:pt x="10" y="375"/>
                  <a:pt x="10" y="375"/>
                  <a:pt x="10" y="375"/>
                </a:cubicBezTo>
                <a:lnTo>
                  <a:pt x="9" y="375"/>
                </a:lnTo>
                <a:close/>
                <a:moveTo>
                  <a:pt x="12" y="367"/>
                </a:moveTo>
                <a:cubicBezTo>
                  <a:pt x="11" y="368"/>
                  <a:pt x="11" y="368"/>
                  <a:pt x="11" y="368"/>
                </a:cubicBezTo>
                <a:cubicBezTo>
                  <a:pt x="10" y="366"/>
                  <a:pt x="10" y="366"/>
                  <a:pt x="10" y="366"/>
                </a:cubicBezTo>
                <a:cubicBezTo>
                  <a:pt x="11" y="366"/>
                  <a:pt x="11" y="366"/>
                  <a:pt x="11" y="366"/>
                </a:cubicBezTo>
                <a:cubicBezTo>
                  <a:pt x="13" y="366"/>
                  <a:pt x="13" y="366"/>
                  <a:pt x="13" y="366"/>
                </a:cubicBezTo>
                <a:cubicBezTo>
                  <a:pt x="14" y="366"/>
                  <a:pt x="14" y="366"/>
                  <a:pt x="14" y="366"/>
                </a:cubicBezTo>
                <a:cubicBezTo>
                  <a:pt x="14" y="366"/>
                  <a:pt x="14" y="366"/>
                  <a:pt x="14" y="366"/>
                </a:cubicBezTo>
                <a:lnTo>
                  <a:pt x="12" y="367"/>
                </a:lnTo>
                <a:close/>
                <a:moveTo>
                  <a:pt x="16" y="375"/>
                </a:moveTo>
                <a:cubicBezTo>
                  <a:pt x="15" y="375"/>
                  <a:pt x="15" y="375"/>
                  <a:pt x="15" y="375"/>
                </a:cubicBezTo>
                <a:cubicBezTo>
                  <a:pt x="14" y="375"/>
                  <a:pt x="14" y="375"/>
                  <a:pt x="14" y="375"/>
                </a:cubicBezTo>
                <a:cubicBezTo>
                  <a:pt x="14" y="374"/>
                  <a:pt x="14" y="374"/>
                  <a:pt x="14" y="374"/>
                </a:cubicBezTo>
                <a:cubicBezTo>
                  <a:pt x="15" y="374"/>
                  <a:pt x="15" y="374"/>
                  <a:pt x="15" y="374"/>
                </a:cubicBezTo>
                <a:cubicBezTo>
                  <a:pt x="17" y="372"/>
                  <a:pt x="17" y="372"/>
                  <a:pt x="17" y="372"/>
                </a:cubicBezTo>
                <a:cubicBezTo>
                  <a:pt x="18" y="375"/>
                  <a:pt x="18" y="375"/>
                  <a:pt x="18" y="375"/>
                </a:cubicBezTo>
                <a:lnTo>
                  <a:pt x="16" y="375"/>
                </a:lnTo>
                <a:close/>
                <a:moveTo>
                  <a:pt x="18" y="362"/>
                </a:moveTo>
                <a:cubicBezTo>
                  <a:pt x="18" y="361"/>
                  <a:pt x="18" y="361"/>
                  <a:pt x="18" y="361"/>
                </a:cubicBezTo>
                <a:cubicBezTo>
                  <a:pt x="17" y="357"/>
                  <a:pt x="17" y="357"/>
                  <a:pt x="17" y="357"/>
                </a:cubicBezTo>
                <a:cubicBezTo>
                  <a:pt x="19" y="359"/>
                  <a:pt x="19" y="359"/>
                  <a:pt x="19" y="359"/>
                </a:cubicBezTo>
                <a:cubicBezTo>
                  <a:pt x="18" y="361"/>
                  <a:pt x="18" y="361"/>
                  <a:pt x="18" y="361"/>
                </a:cubicBezTo>
                <a:lnTo>
                  <a:pt x="18" y="362"/>
                </a:lnTo>
                <a:close/>
                <a:moveTo>
                  <a:pt x="19" y="364"/>
                </a:moveTo>
                <a:cubicBezTo>
                  <a:pt x="18" y="364"/>
                  <a:pt x="18" y="364"/>
                  <a:pt x="18" y="364"/>
                </a:cubicBezTo>
                <a:cubicBezTo>
                  <a:pt x="19" y="363"/>
                  <a:pt x="19" y="363"/>
                  <a:pt x="19" y="363"/>
                </a:cubicBezTo>
                <a:cubicBezTo>
                  <a:pt x="19" y="362"/>
                  <a:pt x="19" y="362"/>
                  <a:pt x="19" y="362"/>
                </a:cubicBezTo>
                <a:cubicBezTo>
                  <a:pt x="20" y="361"/>
                  <a:pt x="20" y="361"/>
                  <a:pt x="20" y="361"/>
                </a:cubicBezTo>
                <a:cubicBezTo>
                  <a:pt x="22" y="364"/>
                  <a:pt x="22" y="364"/>
                  <a:pt x="22" y="364"/>
                </a:cubicBezTo>
                <a:cubicBezTo>
                  <a:pt x="21" y="364"/>
                  <a:pt x="21" y="364"/>
                  <a:pt x="21" y="364"/>
                </a:cubicBezTo>
                <a:lnTo>
                  <a:pt x="19" y="364"/>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27" name="ïṡľíḑé">
            <a:extLst>
              <a:ext uri="{FF2B5EF4-FFF2-40B4-BE49-F238E27FC236}">
                <a16:creationId xmlns:a16="http://schemas.microsoft.com/office/drawing/2014/main" id="{844001B9-B63B-4A35-A4A5-2D297E60B914}"/>
              </a:ext>
            </a:extLst>
          </p:cNvPr>
          <p:cNvSpPr/>
          <p:nvPr/>
        </p:nvSpPr>
        <p:spPr bwMode="auto">
          <a:xfrm>
            <a:off x="11771851" y="6596378"/>
            <a:ext cx="17737" cy="35474"/>
          </a:xfrm>
          <a:custGeom>
            <a:avLst/>
            <a:gdLst>
              <a:gd name="T0" fmla="*/ 0 w 4"/>
              <a:gd name="T1" fmla="*/ 8 h 8"/>
              <a:gd name="T2" fmla="*/ 0 w 4"/>
              <a:gd name="T3" fmla="*/ 5 h 8"/>
              <a:gd name="T4" fmla="*/ 0 w 4"/>
              <a:gd name="T5" fmla="*/ 3 h 8"/>
              <a:gd name="T6" fmla="*/ 0 w 4"/>
              <a:gd name="T7" fmla="*/ 1 h 8"/>
              <a:gd name="T8" fmla="*/ 0 w 4"/>
              <a:gd name="T9" fmla="*/ 0 h 8"/>
              <a:gd name="T10" fmla="*/ 2 w 4"/>
              <a:gd name="T11" fmla="*/ 3 h 8"/>
              <a:gd name="T12" fmla="*/ 4 w 4"/>
              <a:gd name="T13" fmla="*/ 5 h 8"/>
              <a:gd name="T14" fmla="*/ 2 w 4"/>
              <a:gd name="T15" fmla="*/ 5 h 8"/>
              <a:gd name="T16" fmla="*/ 2 w 4"/>
              <a:gd name="T17" fmla="*/ 6 h 8"/>
              <a:gd name="T18" fmla="*/ 0 w 4"/>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8">
                <a:moveTo>
                  <a:pt x="0" y="8"/>
                </a:moveTo>
                <a:lnTo>
                  <a:pt x="0" y="5"/>
                </a:lnTo>
                <a:lnTo>
                  <a:pt x="0" y="3"/>
                </a:lnTo>
                <a:lnTo>
                  <a:pt x="0" y="1"/>
                </a:lnTo>
                <a:lnTo>
                  <a:pt x="0" y="0"/>
                </a:lnTo>
                <a:lnTo>
                  <a:pt x="2" y="3"/>
                </a:lnTo>
                <a:lnTo>
                  <a:pt x="4" y="5"/>
                </a:lnTo>
                <a:lnTo>
                  <a:pt x="2" y="5"/>
                </a:lnTo>
                <a:lnTo>
                  <a:pt x="2" y="6"/>
                </a:lnTo>
                <a:lnTo>
                  <a:pt x="0" y="8"/>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28" name="ïś1iďê">
            <a:extLst>
              <a:ext uri="{FF2B5EF4-FFF2-40B4-BE49-F238E27FC236}">
                <a16:creationId xmlns:a16="http://schemas.microsoft.com/office/drawing/2014/main" id="{B8F2856A-48B7-4014-99E3-ECB575F49390}"/>
              </a:ext>
            </a:extLst>
          </p:cNvPr>
          <p:cNvSpPr/>
          <p:nvPr/>
        </p:nvSpPr>
        <p:spPr bwMode="auto">
          <a:xfrm>
            <a:off x="10055793" y="5682921"/>
            <a:ext cx="1370186" cy="1144039"/>
          </a:xfrm>
          <a:custGeom>
            <a:avLst/>
            <a:gdLst>
              <a:gd name="T0" fmla="*/ 8 w 190"/>
              <a:gd name="T1" fmla="*/ 158 h 158"/>
              <a:gd name="T2" fmla="*/ 59 w 190"/>
              <a:gd name="T3" fmla="*/ 158 h 158"/>
              <a:gd name="T4" fmla="*/ 88 w 190"/>
              <a:gd name="T5" fmla="*/ 117 h 158"/>
              <a:gd name="T6" fmla="*/ 88 w 190"/>
              <a:gd name="T7" fmla="*/ 158 h 158"/>
              <a:gd name="T8" fmla="*/ 127 w 190"/>
              <a:gd name="T9" fmla="*/ 158 h 158"/>
              <a:gd name="T10" fmla="*/ 129 w 190"/>
              <a:gd name="T11" fmla="*/ 155 h 158"/>
              <a:gd name="T12" fmla="*/ 164 w 190"/>
              <a:gd name="T13" fmla="*/ 78 h 158"/>
              <a:gd name="T14" fmla="*/ 182 w 190"/>
              <a:gd name="T15" fmla="*/ 6 h 158"/>
              <a:gd name="T16" fmla="*/ 0 w 190"/>
              <a:gd name="T17" fmla="*/ 95 h 158"/>
              <a:gd name="T18" fmla="*/ 3 w 190"/>
              <a:gd name="T19" fmla="*/ 114 h 158"/>
              <a:gd name="T20" fmla="*/ 8 w 190"/>
              <a:gd name="T21"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0" h="158">
                <a:moveTo>
                  <a:pt x="8" y="158"/>
                </a:moveTo>
                <a:cubicBezTo>
                  <a:pt x="25" y="158"/>
                  <a:pt x="42" y="158"/>
                  <a:pt x="59" y="158"/>
                </a:cubicBezTo>
                <a:cubicBezTo>
                  <a:pt x="68" y="144"/>
                  <a:pt x="78" y="130"/>
                  <a:pt x="88" y="117"/>
                </a:cubicBezTo>
                <a:cubicBezTo>
                  <a:pt x="88" y="158"/>
                  <a:pt x="88" y="158"/>
                  <a:pt x="88" y="158"/>
                </a:cubicBezTo>
                <a:cubicBezTo>
                  <a:pt x="101" y="158"/>
                  <a:pt x="114" y="158"/>
                  <a:pt x="127" y="158"/>
                </a:cubicBezTo>
                <a:cubicBezTo>
                  <a:pt x="128" y="157"/>
                  <a:pt x="128" y="156"/>
                  <a:pt x="129" y="155"/>
                </a:cubicBezTo>
                <a:cubicBezTo>
                  <a:pt x="141" y="130"/>
                  <a:pt x="154" y="103"/>
                  <a:pt x="164" y="78"/>
                </a:cubicBezTo>
                <a:cubicBezTo>
                  <a:pt x="180" y="40"/>
                  <a:pt x="190" y="9"/>
                  <a:pt x="182" y="6"/>
                </a:cubicBezTo>
                <a:cubicBezTo>
                  <a:pt x="165" y="0"/>
                  <a:pt x="98" y="58"/>
                  <a:pt x="0" y="95"/>
                </a:cubicBezTo>
                <a:cubicBezTo>
                  <a:pt x="1" y="102"/>
                  <a:pt x="2" y="108"/>
                  <a:pt x="3" y="114"/>
                </a:cubicBezTo>
                <a:cubicBezTo>
                  <a:pt x="5" y="129"/>
                  <a:pt x="6" y="144"/>
                  <a:pt x="8" y="158"/>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29" name="ísḻiḓe">
            <a:extLst>
              <a:ext uri="{FF2B5EF4-FFF2-40B4-BE49-F238E27FC236}">
                <a16:creationId xmlns:a16="http://schemas.microsoft.com/office/drawing/2014/main" id="{B83CBA78-DAD5-45E8-A769-6842ED038B16}"/>
              </a:ext>
            </a:extLst>
          </p:cNvPr>
          <p:cNvSpPr/>
          <p:nvPr/>
        </p:nvSpPr>
        <p:spPr bwMode="auto">
          <a:xfrm>
            <a:off x="5076121" y="5079862"/>
            <a:ext cx="8868" cy="70948"/>
          </a:xfrm>
          <a:custGeom>
            <a:avLst/>
            <a:gdLst>
              <a:gd name="T0" fmla="*/ 1 w 1"/>
              <a:gd name="T1" fmla="*/ 10 h 10"/>
              <a:gd name="T2" fmla="*/ 0 w 1"/>
              <a:gd name="T3" fmla="*/ 9 h 10"/>
              <a:gd name="T4" fmla="*/ 0 w 1"/>
              <a:gd name="T5" fmla="*/ 9 h 10"/>
              <a:gd name="T6" fmla="*/ 0 w 1"/>
              <a:gd name="T7" fmla="*/ 2 h 10"/>
              <a:gd name="T8" fmla="*/ 0 w 1"/>
              <a:gd name="T9" fmla="*/ 2 h 10"/>
              <a:gd name="T10" fmla="*/ 0 w 1"/>
              <a:gd name="T11" fmla="*/ 0 h 10"/>
              <a:gd name="T12" fmla="*/ 1 w 1"/>
              <a:gd name="T13" fmla="*/ 0 h 10"/>
              <a:gd name="T14" fmla="*/ 1 w 1"/>
              <a:gd name="T15" fmla="*/ 1 h 10"/>
              <a:gd name="T16" fmla="*/ 1 w 1"/>
              <a:gd name="T17" fmla="*/ 2 h 10"/>
              <a:gd name="T18" fmla="*/ 1 w 1"/>
              <a:gd name="T1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10">
                <a:moveTo>
                  <a:pt x="1" y="10"/>
                </a:moveTo>
                <a:cubicBezTo>
                  <a:pt x="1" y="10"/>
                  <a:pt x="1" y="9"/>
                  <a:pt x="0" y="9"/>
                </a:cubicBezTo>
                <a:cubicBezTo>
                  <a:pt x="0" y="9"/>
                  <a:pt x="0" y="9"/>
                  <a:pt x="0" y="9"/>
                </a:cubicBezTo>
                <a:cubicBezTo>
                  <a:pt x="0" y="2"/>
                  <a:pt x="0" y="2"/>
                  <a:pt x="0" y="2"/>
                </a:cubicBezTo>
                <a:cubicBezTo>
                  <a:pt x="0" y="2"/>
                  <a:pt x="0" y="2"/>
                  <a:pt x="0" y="2"/>
                </a:cubicBezTo>
                <a:cubicBezTo>
                  <a:pt x="0" y="1"/>
                  <a:pt x="0" y="1"/>
                  <a:pt x="0" y="0"/>
                </a:cubicBezTo>
                <a:cubicBezTo>
                  <a:pt x="0" y="0"/>
                  <a:pt x="1" y="0"/>
                  <a:pt x="1" y="0"/>
                </a:cubicBezTo>
                <a:cubicBezTo>
                  <a:pt x="1" y="0"/>
                  <a:pt x="1" y="0"/>
                  <a:pt x="1" y="1"/>
                </a:cubicBezTo>
                <a:cubicBezTo>
                  <a:pt x="1" y="1"/>
                  <a:pt x="1" y="2"/>
                  <a:pt x="1" y="2"/>
                </a:cubicBezTo>
                <a:lnTo>
                  <a:pt x="1" y="1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30" name="îṧ1îḋê">
            <a:extLst>
              <a:ext uri="{FF2B5EF4-FFF2-40B4-BE49-F238E27FC236}">
                <a16:creationId xmlns:a16="http://schemas.microsoft.com/office/drawing/2014/main" id="{96BF1FA6-4AD5-4452-B54A-0649C00A91AE}"/>
              </a:ext>
            </a:extLst>
          </p:cNvPr>
          <p:cNvSpPr/>
          <p:nvPr/>
        </p:nvSpPr>
        <p:spPr bwMode="auto">
          <a:xfrm>
            <a:off x="11674296" y="6662893"/>
            <a:ext cx="26605" cy="17737"/>
          </a:xfrm>
          <a:custGeom>
            <a:avLst/>
            <a:gdLst>
              <a:gd name="T0" fmla="*/ 0 w 6"/>
              <a:gd name="T1" fmla="*/ 0 h 4"/>
              <a:gd name="T2" fmla="*/ 1 w 6"/>
              <a:gd name="T3" fmla="*/ 0 h 4"/>
              <a:gd name="T4" fmla="*/ 3 w 6"/>
              <a:gd name="T5" fmla="*/ 0 h 4"/>
              <a:gd name="T6" fmla="*/ 4 w 6"/>
              <a:gd name="T7" fmla="*/ 0 h 4"/>
              <a:gd name="T8" fmla="*/ 6 w 6"/>
              <a:gd name="T9" fmla="*/ 0 h 4"/>
              <a:gd name="T10" fmla="*/ 4 w 6"/>
              <a:gd name="T11" fmla="*/ 1 h 4"/>
              <a:gd name="T12" fmla="*/ 4 w 6"/>
              <a:gd name="T13" fmla="*/ 1 h 4"/>
              <a:gd name="T14" fmla="*/ 4 w 6"/>
              <a:gd name="T15" fmla="*/ 3 h 4"/>
              <a:gd name="T16" fmla="*/ 3 w 6"/>
              <a:gd name="T17" fmla="*/ 4 h 4"/>
              <a:gd name="T18" fmla="*/ 3 w 6"/>
              <a:gd name="T19" fmla="*/ 4 h 4"/>
              <a:gd name="T20" fmla="*/ 1 w 6"/>
              <a:gd name="T21" fmla="*/ 3 h 4"/>
              <a:gd name="T22" fmla="*/ 0 w 6"/>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4">
                <a:moveTo>
                  <a:pt x="0" y="0"/>
                </a:moveTo>
                <a:lnTo>
                  <a:pt x="1" y="0"/>
                </a:lnTo>
                <a:lnTo>
                  <a:pt x="3" y="0"/>
                </a:lnTo>
                <a:lnTo>
                  <a:pt x="4" y="0"/>
                </a:lnTo>
                <a:lnTo>
                  <a:pt x="6" y="0"/>
                </a:lnTo>
                <a:lnTo>
                  <a:pt x="4" y="1"/>
                </a:lnTo>
                <a:lnTo>
                  <a:pt x="4" y="1"/>
                </a:lnTo>
                <a:lnTo>
                  <a:pt x="4" y="3"/>
                </a:lnTo>
                <a:lnTo>
                  <a:pt x="3" y="4"/>
                </a:lnTo>
                <a:lnTo>
                  <a:pt x="3" y="4"/>
                </a:lnTo>
                <a:lnTo>
                  <a:pt x="1" y="3"/>
                </a:lnTo>
                <a:lnTo>
                  <a:pt x="0"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31" name="íslîḓé">
            <a:extLst>
              <a:ext uri="{FF2B5EF4-FFF2-40B4-BE49-F238E27FC236}">
                <a16:creationId xmlns:a16="http://schemas.microsoft.com/office/drawing/2014/main" id="{6C801CB9-3A74-40A2-B1E3-3EB44379823E}"/>
              </a:ext>
            </a:extLst>
          </p:cNvPr>
          <p:cNvSpPr/>
          <p:nvPr/>
        </p:nvSpPr>
        <p:spPr bwMode="auto">
          <a:xfrm>
            <a:off x="11403807" y="6711669"/>
            <a:ext cx="31040" cy="22171"/>
          </a:xfrm>
          <a:custGeom>
            <a:avLst/>
            <a:gdLst>
              <a:gd name="T0" fmla="*/ 7 w 7"/>
              <a:gd name="T1" fmla="*/ 5 h 5"/>
              <a:gd name="T2" fmla="*/ 5 w 7"/>
              <a:gd name="T3" fmla="*/ 5 h 5"/>
              <a:gd name="T4" fmla="*/ 2 w 7"/>
              <a:gd name="T5" fmla="*/ 5 h 5"/>
              <a:gd name="T6" fmla="*/ 0 w 7"/>
              <a:gd name="T7" fmla="*/ 5 h 5"/>
              <a:gd name="T8" fmla="*/ 0 w 7"/>
              <a:gd name="T9" fmla="*/ 5 h 5"/>
              <a:gd name="T10" fmla="*/ 0 w 7"/>
              <a:gd name="T11" fmla="*/ 5 h 5"/>
              <a:gd name="T12" fmla="*/ 0 w 7"/>
              <a:gd name="T13" fmla="*/ 3 h 5"/>
              <a:gd name="T14" fmla="*/ 2 w 7"/>
              <a:gd name="T15" fmla="*/ 2 h 5"/>
              <a:gd name="T16" fmla="*/ 4 w 7"/>
              <a:gd name="T17" fmla="*/ 0 h 5"/>
              <a:gd name="T18" fmla="*/ 4 w 7"/>
              <a:gd name="T19" fmla="*/ 0 h 5"/>
              <a:gd name="T20" fmla="*/ 4 w 7"/>
              <a:gd name="T21" fmla="*/ 2 h 5"/>
              <a:gd name="T22" fmla="*/ 7 w 7"/>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7" y="5"/>
                </a:moveTo>
                <a:lnTo>
                  <a:pt x="5" y="5"/>
                </a:lnTo>
                <a:lnTo>
                  <a:pt x="2" y="5"/>
                </a:lnTo>
                <a:lnTo>
                  <a:pt x="0" y="5"/>
                </a:lnTo>
                <a:lnTo>
                  <a:pt x="0" y="5"/>
                </a:lnTo>
                <a:lnTo>
                  <a:pt x="0" y="5"/>
                </a:lnTo>
                <a:lnTo>
                  <a:pt x="0" y="3"/>
                </a:lnTo>
                <a:lnTo>
                  <a:pt x="2" y="2"/>
                </a:lnTo>
                <a:lnTo>
                  <a:pt x="4" y="0"/>
                </a:lnTo>
                <a:lnTo>
                  <a:pt x="4" y="0"/>
                </a:lnTo>
                <a:lnTo>
                  <a:pt x="4" y="2"/>
                </a:lnTo>
                <a:lnTo>
                  <a:pt x="7" y="5"/>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32" name="îśḻiḑé">
            <a:extLst>
              <a:ext uri="{FF2B5EF4-FFF2-40B4-BE49-F238E27FC236}">
                <a16:creationId xmlns:a16="http://schemas.microsoft.com/office/drawing/2014/main" id="{92C254FB-846A-42C7-B49A-686D5ABC3751}"/>
              </a:ext>
            </a:extLst>
          </p:cNvPr>
          <p:cNvSpPr/>
          <p:nvPr/>
        </p:nvSpPr>
        <p:spPr bwMode="auto">
          <a:xfrm>
            <a:off x="11621086" y="6064267"/>
            <a:ext cx="13303" cy="44342"/>
          </a:xfrm>
          <a:custGeom>
            <a:avLst/>
            <a:gdLst>
              <a:gd name="T0" fmla="*/ 3 w 3"/>
              <a:gd name="T1" fmla="*/ 5 h 10"/>
              <a:gd name="T2" fmla="*/ 2 w 3"/>
              <a:gd name="T3" fmla="*/ 7 h 10"/>
              <a:gd name="T4" fmla="*/ 2 w 3"/>
              <a:gd name="T5" fmla="*/ 10 h 10"/>
              <a:gd name="T6" fmla="*/ 0 w 3"/>
              <a:gd name="T7" fmla="*/ 10 h 10"/>
              <a:gd name="T8" fmla="*/ 0 w 3"/>
              <a:gd name="T9" fmla="*/ 9 h 10"/>
              <a:gd name="T10" fmla="*/ 0 w 3"/>
              <a:gd name="T11" fmla="*/ 5 h 10"/>
              <a:gd name="T12" fmla="*/ 0 w 3"/>
              <a:gd name="T13" fmla="*/ 2 h 10"/>
              <a:gd name="T14" fmla="*/ 0 w 3"/>
              <a:gd name="T15" fmla="*/ 0 h 10"/>
              <a:gd name="T16" fmla="*/ 2 w 3"/>
              <a:gd name="T17" fmla="*/ 2 h 10"/>
              <a:gd name="T18" fmla="*/ 3 w 3"/>
              <a:gd name="T19"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10">
                <a:moveTo>
                  <a:pt x="3" y="5"/>
                </a:moveTo>
                <a:lnTo>
                  <a:pt x="2" y="7"/>
                </a:lnTo>
                <a:lnTo>
                  <a:pt x="2" y="10"/>
                </a:lnTo>
                <a:lnTo>
                  <a:pt x="0" y="10"/>
                </a:lnTo>
                <a:lnTo>
                  <a:pt x="0" y="9"/>
                </a:lnTo>
                <a:lnTo>
                  <a:pt x="0" y="5"/>
                </a:lnTo>
                <a:lnTo>
                  <a:pt x="0" y="2"/>
                </a:lnTo>
                <a:lnTo>
                  <a:pt x="0" y="0"/>
                </a:lnTo>
                <a:lnTo>
                  <a:pt x="2" y="2"/>
                </a:lnTo>
                <a:lnTo>
                  <a:pt x="3" y="5"/>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33" name="îsḷiďé">
            <a:extLst>
              <a:ext uri="{FF2B5EF4-FFF2-40B4-BE49-F238E27FC236}">
                <a16:creationId xmlns:a16="http://schemas.microsoft.com/office/drawing/2014/main" id="{7D6E1B29-1CFA-477A-BCBD-039D68A19808}"/>
              </a:ext>
            </a:extLst>
          </p:cNvPr>
          <p:cNvSpPr/>
          <p:nvPr/>
        </p:nvSpPr>
        <p:spPr bwMode="auto">
          <a:xfrm>
            <a:off x="11674296" y="5190718"/>
            <a:ext cx="13303" cy="26605"/>
          </a:xfrm>
          <a:custGeom>
            <a:avLst/>
            <a:gdLst>
              <a:gd name="T0" fmla="*/ 3 w 3"/>
              <a:gd name="T1" fmla="*/ 6 h 6"/>
              <a:gd name="T2" fmla="*/ 0 w 3"/>
              <a:gd name="T3" fmla="*/ 3 h 6"/>
              <a:gd name="T4" fmla="*/ 0 w 3"/>
              <a:gd name="T5" fmla="*/ 1 h 6"/>
              <a:gd name="T6" fmla="*/ 1 w 3"/>
              <a:gd name="T7" fmla="*/ 1 h 6"/>
              <a:gd name="T8" fmla="*/ 1 w 3"/>
              <a:gd name="T9" fmla="*/ 0 h 6"/>
              <a:gd name="T10" fmla="*/ 1 w 3"/>
              <a:gd name="T11" fmla="*/ 1 h 6"/>
              <a:gd name="T12" fmla="*/ 1 w 3"/>
              <a:gd name="T13" fmla="*/ 5 h 6"/>
              <a:gd name="T14" fmla="*/ 3 w 3"/>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6"/>
                </a:moveTo>
                <a:lnTo>
                  <a:pt x="0" y="3"/>
                </a:lnTo>
                <a:lnTo>
                  <a:pt x="0" y="1"/>
                </a:lnTo>
                <a:lnTo>
                  <a:pt x="1" y="1"/>
                </a:lnTo>
                <a:lnTo>
                  <a:pt x="1" y="0"/>
                </a:lnTo>
                <a:lnTo>
                  <a:pt x="1" y="1"/>
                </a:lnTo>
                <a:lnTo>
                  <a:pt x="1" y="5"/>
                </a:lnTo>
                <a:lnTo>
                  <a:pt x="3" y="6"/>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34" name="îṧḻíḑê">
            <a:extLst>
              <a:ext uri="{FF2B5EF4-FFF2-40B4-BE49-F238E27FC236}">
                <a16:creationId xmlns:a16="http://schemas.microsoft.com/office/drawing/2014/main" id="{BDC503D4-0B55-43C5-8FC4-E3EADD174281}"/>
              </a:ext>
            </a:extLst>
          </p:cNvPr>
          <p:cNvSpPr/>
          <p:nvPr/>
        </p:nvSpPr>
        <p:spPr bwMode="auto">
          <a:xfrm>
            <a:off x="11652125" y="5212890"/>
            <a:ext cx="26605" cy="13303"/>
          </a:xfrm>
          <a:custGeom>
            <a:avLst/>
            <a:gdLst>
              <a:gd name="T0" fmla="*/ 3 w 6"/>
              <a:gd name="T1" fmla="*/ 0 h 3"/>
              <a:gd name="T2" fmla="*/ 6 w 6"/>
              <a:gd name="T3" fmla="*/ 3 h 3"/>
              <a:gd name="T4" fmla="*/ 5 w 6"/>
              <a:gd name="T5" fmla="*/ 3 h 3"/>
              <a:gd name="T6" fmla="*/ 1 w 6"/>
              <a:gd name="T7" fmla="*/ 3 h 3"/>
              <a:gd name="T8" fmla="*/ 0 w 6"/>
              <a:gd name="T9" fmla="*/ 3 h 3"/>
              <a:gd name="T10" fmla="*/ 1 w 6"/>
              <a:gd name="T11" fmla="*/ 3 h 3"/>
              <a:gd name="T12" fmla="*/ 3 w 6"/>
              <a:gd name="T13" fmla="*/ 1 h 3"/>
              <a:gd name="T14" fmla="*/ 3 w 6"/>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3">
                <a:moveTo>
                  <a:pt x="3" y="0"/>
                </a:moveTo>
                <a:lnTo>
                  <a:pt x="6" y="3"/>
                </a:lnTo>
                <a:lnTo>
                  <a:pt x="5" y="3"/>
                </a:lnTo>
                <a:lnTo>
                  <a:pt x="1" y="3"/>
                </a:lnTo>
                <a:lnTo>
                  <a:pt x="0" y="3"/>
                </a:lnTo>
                <a:lnTo>
                  <a:pt x="1" y="3"/>
                </a:lnTo>
                <a:lnTo>
                  <a:pt x="3" y="1"/>
                </a:lnTo>
                <a:lnTo>
                  <a:pt x="3"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35" name="ïṣḷídè">
            <a:extLst>
              <a:ext uri="{FF2B5EF4-FFF2-40B4-BE49-F238E27FC236}">
                <a16:creationId xmlns:a16="http://schemas.microsoft.com/office/drawing/2014/main" id="{45EFDB88-B70B-4EE4-9519-E3BA957A2F50}"/>
              </a:ext>
            </a:extLst>
          </p:cNvPr>
          <p:cNvSpPr/>
          <p:nvPr/>
        </p:nvSpPr>
        <p:spPr bwMode="auto">
          <a:xfrm>
            <a:off x="11598914" y="4871452"/>
            <a:ext cx="31040" cy="13303"/>
          </a:xfrm>
          <a:custGeom>
            <a:avLst/>
            <a:gdLst>
              <a:gd name="T0" fmla="*/ 4 w 7"/>
              <a:gd name="T1" fmla="*/ 0 h 3"/>
              <a:gd name="T2" fmla="*/ 7 w 7"/>
              <a:gd name="T3" fmla="*/ 3 h 3"/>
              <a:gd name="T4" fmla="*/ 7 w 7"/>
              <a:gd name="T5" fmla="*/ 3 h 3"/>
              <a:gd name="T6" fmla="*/ 0 w 7"/>
              <a:gd name="T7" fmla="*/ 3 h 3"/>
              <a:gd name="T8" fmla="*/ 0 w 7"/>
              <a:gd name="T9" fmla="*/ 3 h 3"/>
              <a:gd name="T10" fmla="*/ 0 w 7"/>
              <a:gd name="T11" fmla="*/ 3 h 3"/>
              <a:gd name="T12" fmla="*/ 4 w 7"/>
              <a:gd name="T13" fmla="*/ 0 h 3"/>
              <a:gd name="T14" fmla="*/ 4 w 7"/>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3">
                <a:moveTo>
                  <a:pt x="4" y="0"/>
                </a:moveTo>
                <a:lnTo>
                  <a:pt x="7" y="3"/>
                </a:lnTo>
                <a:lnTo>
                  <a:pt x="7" y="3"/>
                </a:lnTo>
                <a:lnTo>
                  <a:pt x="0" y="3"/>
                </a:lnTo>
                <a:lnTo>
                  <a:pt x="0" y="3"/>
                </a:lnTo>
                <a:lnTo>
                  <a:pt x="0" y="3"/>
                </a:lnTo>
                <a:lnTo>
                  <a:pt x="4" y="0"/>
                </a:lnTo>
                <a:lnTo>
                  <a:pt x="4"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36" name="íṡ1îdè">
            <a:extLst>
              <a:ext uri="{FF2B5EF4-FFF2-40B4-BE49-F238E27FC236}">
                <a16:creationId xmlns:a16="http://schemas.microsoft.com/office/drawing/2014/main" id="{8917DDE4-742A-4D83-AE48-D1121A2BECE9}"/>
              </a:ext>
            </a:extLst>
          </p:cNvPr>
          <p:cNvSpPr/>
          <p:nvPr/>
        </p:nvSpPr>
        <p:spPr bwMode="auto">
          <a:xfrm>
            <a:off x="11598914" y="4942399"/>
            <a:ext cx="31040" cy="22171"/>
          </a:xfrm>
          <a:custGeom>
            <a:avLst/>
            <a:gdLst>
              <a:gd name="T0" fmla="*/ 4 w 7"/>
              <a:gd name="T1" fmla="*/ 0 h 5"/>
              <a:gd name="T2" fmla="*/ 7 w 7"/>
              <a:gd name="T3" fmla="*/ 5 h 5"/>
              <a:gd name="T4" fmla="*/ 7 w 7"/>
              <a:gd name="T5" fmla="*/ 5 h 5"/>
              <a:gd name="T6" fmla="*/ 0 w 7"/>
              <a:gd name="T7" fmla="*/ 5 h 5"/>
              <a:gd name="T8" fmla="*/ 0 w 7"/>
              <a:gd name="T9" fmla="*/ 5 h 5"/>
              <a:gd name="T10" fmla="*/ 0 w 7"/>
              <a:gd name="T11" fmla="*/ 5 h 5"/>
              <a:gd name="T12" fmla="*/ 2 w 7"/>
              <a:gd name="T13" fmla="*/ 2 h 5"/>
              <a:gd name="T14" fmla="*/ 4 w 7"/>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5">
                <a:moveTo>
                  <a:pt x="4" y="0"/>
                </a:moveTo>
                <a:lnTo>
                  <a:pt x="7" y="5"/>
                </a:lnTo>
                <a:lnTo>
                  <a:pt x="7" y="5"/>
                </a:lnTo>
                <a:lnTo>
                  <a:pt x="0" y="5"/>
                </a:lnTo>
                <a:lnTo>
                  <a:pt x="0" y="5"/>
                </a:lnTo>
                <a:lnTo>
                  <a:pt x="0" y="5"/>
                </a:lnTo>
                <a:lnTo>
                  <a:pt x="2" y="2"/>
                </a:lnTo>
                <a:lnTo>
                  <a:pt x="4"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37" name="íśļíḑé">
            <a:extLst>
              <a:ext uri="{FF2B5EF4-FFF2-40B4-BE49-F238E27FC236}">
                <a16:creationId xmlns:a16="http://schemas.microsoft.com/office/drawing/2014/main" id="{DC86F3E4-A10D-4576-8685-B866831D6C6D}"/>
              </a:ext>
            </a:extLst>
          </p:cNvPr>
          <p:cNvSpPr/>
          <p:nvPr/>
        </p:nvSpPr>
        <p:spPr bwMode="auto">
          <a:xfrm>
            <a:off x="11997997" y="6622985"/>
            <a:ext cx="26605" cy="22171"/>
          </a:xfrm>
          <a:custGeom>
            <a:avLst/>
            <a:gdLst>
              <a:gd name="T0" fmla="*/ 6 w 6"/>
              <a:gd name="T1" fmla="*/ 5 h 5"/>
              <a:gd name="T2" fmla="*/ 5 w 6"/>
              <a:gd name="T3" fmla="*/ 5 h 5"/>
              <a:gd name="T4" fmla="*/ 1 w 6"/>
              <a:gd name="T5" fmla="*/ 5 h 5"/>
              <a:gd name="T6" fmla="*/ 0 w 6"/>
              <a:gd name="T7" fmla="*/ 5 h 5"/>
              <a:gd name="T8" fmla="*/ 0 w 6"/>
              <a:gd name="T9" fmla="*/ 4 h 5"/>
              <a:gd name="T10" fmla="*/ 1 w 6"/>
              <a:gd name="T11" fmla="*/ 2 h 5"/>
              <a:gd name="T12" fmla="*/ 3 w 6"/>
              <a:gd name="T13" fmla="*/ 0 h 5"/>
              <a:gd name="T14" fmla="*/ 3 w 6"/>
              <a:gd name="T15" fmla="*/ 0 h 5"/>
              <a:gd name="T16" fmla="*/ 3 w 6"/>
              <a:gd name="T17" fmla="*/ 0 h 5"/>
              <a:gd name="T18" fmla="*/ 6 w 6"/>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6" y="5"/>
                </a:moveTo>
                <a:lnTo>
                  <a:pt x="5" y="5"/>
                </a:lnTo>
                <a:lnTo>
                  <a:pt x="1" y="5"/>
                </a:lnTo>
                <a:lnTo>
                  <a:pt x="0" y="5"/>
                </a:lnTo>
                <a:lnTo>
                  <a:pt x="0" y="4"/>
                </a:lnTo>
                <a:lnTo>
                  <a:pt x="1" y="2"/>
                </a:lnTo>
                <a:lnTo>
                  <a:pt x="3" y="0"/>
                </a:lnTo>
                <a:lnTo>
                  <a:pt x="3" y="0"/>
                </a:lnTo>
                <a:lnTo>
                  <a:pt x="3" y="0"/>
                </a:lnTo>
                <a:lnTo>
                  <a:pt x="6" y="5"/>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38" name="ïsļiḍé">
            <a:extLst>
              <a:ext uri="{FF2B5EF4-FFF2-40B4-BE49-F238E27FC236}">
                <a16:creationId xmlns:a16="http://schemas.microsoft.com/office/drawing/2014/main" id="{7EA66725-FBC1-4B75-8DAA-B528DB63E16F}"/>
              </a:ext>
            </a:extLst>
          </p:cNvPr>
          <p:cNvSpPr/>
          <p:nvPr/>
        </p:nvSpPr>
        <p:spPr bwMode="auto">
          <a:xfrm>
            <a:off x="11723073" y="6631853"/>
            <a:ext cx="26605" cy="13303"/>
          </a:xfrm>
          <a:custGeom>
            <a:avLst/>
            <a:gdLst>
              <a:gd name="T0" fmla="*/ 6 w 6"/>
              <a:gd name="T1" fmla="*/ 3 h 3"/>
              <a:gd name="T2" fmla="*/ 5 w 6"/>
              <a:gd name="T3" fmla="*/ 3 h 3"/>
              <a:gd name="T4" fmla="*/ 2 w 6"/>
              <a:gd name="T5" fmla="*/ 3 h 3"/>
              <a:gd name="T6" fmla="*/ 0 w 6"/>
              <a:gd name="T7" fmla="*/ 3 h 3"/>
              <a:gd name="T8" fmla="*/ 2 w 6"/>
              <a:gd name="T9" fmla="*/ 3 h 3"/>
              <a:gd name="T10" fmla="*/ 3 w 6"/>
              <a:gd name="T11" fmla="*/ 2 h 3"/>
              <a:gd name="T12" fmla="*/ 3 w 6"/>
              <a:gd name="T13" fmla="*/ 0 h 3"/>
              <a:gd name="T14" fmla="*/ 3 w 6"/>
              <a:gd name="T15" fmla="*/ 0 h 3"/>
              <a:gd name="T16" fmla="*/ 5 w 6"/>
              <a:gd name="T17" fmla="*/ 2 h 3"/>
              <a:gd name="T18" fmla="*/ 6 w 6"/>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6" y="3"/>
                </a:moveTo>
                <a:lnTo>
                  <a:pt x="5" y="3"/>
                </a:lnTo>
                <a:lnTo>
                  <a:pt x="2" y="3"/>
                </a:lnTo>
                <a:lnTo>
                  <a:pt x="0" y="3"/>
                </a:lnTo>
                <a:lnTo>
                  <a:pt x="2" y="3"/>
                </a:lnTo>
                <a:lnTo>
                  <a:pt x="3" y="2"/>
                </a:lnTo>
                <a:lnTo>
                  <a:pt x="3" y="0"/>
                </a:lnTo>
                <a:lnTo>
                  <a:pt x="3" y="0"/>
                </a:lnTo>
                <a:lnTo>
                  <a:pt x="5" y="2"/>
                </a:lnTo>
                <a:lnTo>
                  <a:pt x="6" y="3"/>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39" name="íṣḷîďè">
            <a:extLst>
              <a:ext uri="{FF2B5EF4-FFF2-40B4-BE49-F238E27FC236}">
                <a16:creationId xmlns:a16="http://schemas.microsoft.com/office/drawing/2014/main" id="{A2FC6EE8-4FCF-4DA8-98E7-651596536C9F}"/>
              </a:ext>
            </a:extLst>
          </p:cNvPr>
          <p:cNvSpPr/>
          <p:nvPr/>
        </p:nvSpPr>
        <p:spPr bwMode="auto">
          <a:xfrm>
            <a:off x="11953655" y="6756012"/>
            <a:ext cx="13303" cy="26605"/>
          </a:xfrm>
          <a:custGeom>
            <a:avLst/>
            <a:gdLst>
              <a:gd name="T0" fmla="*/ 3 w 3"/>
              <a:gd name="T1" fmla="*/ 3 h 6"/>
              <a:gd name="T2" fmla="*/ 3 w 3"/>
              <a:gd name="T3" fmla="*/ 5 h 6"/>
              <a:gd name="T4" fmla="*/ 3 w 3"/>
              <a:gd name="T5" fmla="*/ 6 h 6"/>
              <a:gd name="T6" fmla="*/ 3 w 3"/>
              <a:gd name="T7" fmla="*/ 6 h 6"/>
              <a:gd name="T8" fmla="*/ 3 w 3"/>
              <a:gd name="T9" fmla="*/ 6 h 6"/>
              <a:gd name="T10" fmla="*/ 3 w 3"/>
              <a:gd name="T11" fmla="*/ 6 h 6"/>
              <a:gd name="T12" fmla="*/ 2 w 3"/>
              <a:gd name="T13" fmla="*/ 5 h 6"/>
              <a:gd name="T14" fmla="*/ 0 w 3"/>
              <a:gd name="T15" fmla="*/ 0 h 6"/>
              <a:gd name="T16" fmla="*/ 0 w 3"/>
              <a:gd name="T17" fmla="*/ 0 h 6"/>
              <a:gd name="T18" fmla="*/ 3 w 3"/>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3" y="3"/>
                </a:moveTo>
                <a:lnTo>
                  <a:pt x="3" y="5"/>
                </a:lnTo>
                <a:lnTo>
                  <a:pt x="3" y="6"/>
                </a:lnTo>
                <a:lnTo>
                  <a:pt x="3" y="6"/>
                </a:lnTo>
                <a:lnTo>
                  <a:pt x="3" y="6"/>
                </a:lnTo>
                <a:lnTo>
                  <a:pt x="3" y="6"/>
                </a:lnTo>
                <a:lnTo>
                  <a:pt x="2" y="5"/>
                </a:lnTo>
                <a:lnTo>
                  <a:pt x="0" y="0"/>
                </a:lnTo>
                <a:lnTo>
                  <a:pt x="0" y="0"/>
                </a:lnTo>
                <a:lnTo>
                  <a:pt x="3" y="3"/>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40" name="ïşļíḑe">
            <a:extLst>
              <a:ext uri="{FF2B5EF4-FFF2-40B4-BE49-F238E27FC236}">
                <a16:creationId xmlns:a16="http://schemas.microsoft.com/office/drawing/2014/main" id="{40A8A972-62C0-464F-A0B1-24AC9045CA24}"/>
              </a:ext>
            </a:extLst>
          </p:cNvPr>
          <p:cNvSpPr/>
          <p:nvPr/>
        </p:nvSpPr>
        <p:spPr bwMode="auto">
          <a:xfrm>
            <a:off x="12055642" y="6756012"/>
            <a:ext cx="22171" cy="26605"/>
          </a:xfrm>
          <a:custGeom>
            <a:avLst/>
            <a:gdLst>
              <a:gd name="T0" fmla="*/ 0 w 5"/>
              <a:gd name="T1" fmla="*/ 0 h 6"/>
              <a:gd name="T2" fmla="*/ 5 w 5"/>
              <a:gd name="T3" fmla="*/ 1 h 6"/>
              <a:gd name="T4" fmla="*/ 5 w 5"/>
              <a:gd name="T5" fmla="*/ 3 h 6"/>
              <a:gd name="T6" fmla="*/ 5 w 5"/>
              <a:gd name="T7" fmla="*/ 3 h 6"/>
              <a:gd name="T8" fmla="*/ 5 w 5"/>
              <a:gd name="T9" fmla="*/ 5 h 6"/>
              <a:gd name="T10" fmla="*/ 5 w 5"/>
              <a:gd name="T11" fmla="*/ 6 h 6"/>
              <a:gd name="T12" fmla="*/ 5 w 5"/>
              <a:gd name="T13" fmla="*/ 6 h 6"/>
              <a:gd name="T14" fmla="*/ 5 w 5"/>
              <a:gd name="T15" fmla="*/ 6 h 6"/>
              <a:gd name="T16" fmla="*/ 3 w 5"/>
              <a:gd name="T17" fmla="*/ 5 h 6"/>
              <a:gd name="T18" fmla="*/ 0 w 5"/>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0" y="0"/>
                </a:moveTo>
                <a:lnTo>
                  <a:pt x="5" y="1"/>
                </a:lnTo>
                <a:lnTo>
                  <a:pt x="5" y="3"/>
                </a:lnTo>
                <a:lnTo>
                  <a:pt x="5" y="3"/>
                </a:lnTo>
                <a:lnTo>
                  <a:pt x="5" y="5"/>
                </a:lnTo>
                <a:lnTo>
                  <a:pt x="5" y="6"/>
                </a:lnTo>
                <a:lnTo>
                  <a:pt x="5" y="6"/>
                </a:lnTo>
                <a:lnTo>
                  <a:pt x="5" y="6"/>
                </a:lnTo>
                <a:lnTo>
                  <a:pt x="3" y="5"/>
                </a:lnTo>
                <a:lnTo>
                  <a:pt x="0"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41" name="ï$lîḓe">
            <a:extLst>
              <a:ext uri="{FF2B5EF4-FFF2-40B4-BE49-F238E27FC236}">
                <a16:creationId xmlns:a16="http://schemas.microsoft.com/office/drawing/2014/main" id="{4108A85F-FCCD-44F2-8D38-8AEEFE3A11EF}"/>
              </a:ext>
            </a:extLst>
          </p:cNvPr>
          <p:cNvSpPr/>
          <p:nvPr/>
        </p:nvSpPr>
        <p:spPr bwMode="auto">
          <a:xfrm>
            <a:off x="11745245" y="5421300"/>
            <a:ext cx="26605" cy="44342"/>
          </a:xfrm>
          <a:custGeom>
            <a:avLst/>
            <a:gdLst>
              <a:gd name="T0" fmla="*/ 5 w 6"/>
              <a:gd name="T1" fmla="*/ 0 h 10"/>
              <a:gd name="T2" fmla="*/ 6 w 6"/>
              <a:gd name="T3" fmla="*/ 3 h 10"/>
              <a:gd name="T4" fmla="*/ 6 w 6"/>
              <a:gd name="T5" fmla="*/ 10 h 10"/>
              <a:gd name="T6" fmla="*/ 6 w 6"/>
              <a:gd name="T7" fmla="*/ 10 h 10"/>
              <a:gd name="T8" fmla="*/ 0 w 6"/>
              <a:gd name="T9" fmla="*/ 5 h 10"/>
              <a:gd name="T10" fmla="*/ 1 w 6"/>
              <a:gd name="T11" fmla="*/ 5 h 10"/>
              <a:gd name="T12" fmla="*/ 3 w 6"/>
              <a:gd name="T13" fmla="*/ 2 h 10"/>
              <a:gd name="T14" fmla="*/ 5 w 6"/>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0">
                <a:moveTo>
                  <a:pt x="5" y="0"/>
                </a:moveTo>
                <a:lnTo>
                  <a:pt x="6" y="3"/>
                </a:lnTo>
                <a:lnTo>
                  <a:pt x="6" y="10"/>
                </a:lnTo>
                <a:lnTo>
                  <a:pt x="6" y="10"/>
                </a:lnTo>
                <a:lnTo>
                  <a:pt x="0" y="5"/>
                </a:lnTo>
                <a:lnTo>
                  <a:pt x="1" y="5"/>
                </a:lnTo>
                <a:lnTo>
                  <a:pt x="3" y="2"/>
                </a:lnTo>
                <a:lnTo>
                  <a:pt x="5"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42" name="îS1íḑé">
            <a:extLst>
              <a:ext uri="{FF2B5EF4-FFF2-40B4-BE49-F238E27FC236}">
                <a16:creationId xmlns:a16="http://schemas.microsoft.com/office/drawing/2014/main" id="{ED36486A-8253-41DA-8651-869F494A7C95}"/>
              </a:ext>
            </a:extLst>
          </p:cNvPr>
          <p:cNvSpPr/>
          <p:nvPr/>
        </p:nvSpPr>
        <p:spPr bwMode="auto">
          <a:xfrm>
            <a:off x="11731942" y="5124204"/>
            <a:ext cx="13303" cy="26605"/>
          </a:xfrm>
          <a:custGeom>
            <a:avLst/>
            <a:gdLst>
              <a:gd name="T0" fmla="*/ 3 w 3"/>
              <a:gd name="T1" fmla="*/ 0 h 6"/>
              <a:gd name="T2" fmla="*/ 3 w 3"/>
              <a:gd name="T3" fmla="*/ 3 h 6"/>
              <a:gd name="T4" fmla="*/ 3 w 3"/>
              <a:gd name="T5" fmla="*/ 6 h 6"/>
              <a:gd name="T6" fmla="*/ 3 w 3"/>
              <a:gd name="T7" fmla="*/ 6 h 6"/>
              <a:gd name="T8" fmla="*/ 0 w 3"/>
              <a:gd name="T9" fmla="*/ 3 h 6"/>
              <a:gd name="T10" fmla="*/ 0 w 3"/>
              <a:gd name="T11" fmla="*/ 3 h 6"/>
              <a:gd name="T12" fmla="*/ 1 w 3"/>
              <a:gd name="T13" fmla="*/ 2 h 6"/>
              <a:gd name="T14" fmla="*/ 3 w 3"/>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0"/>
                </a:moveTo>
                <a:lnTo>
                  <a:pt x="3" y="3"/>
                </a:lnTo>
                <a:lnTo>
                  <a:pt x="3" y="6"/>
                </a:lnTo>
                <a:lnTo>
                  <a:pt x="3" y="6"/>
                </a:lnTo>
                <a:lnTo>
                  <a:pt x="0" y="3"/>
                </a:lnTo>
                <a:lnTo>
                  <a:pt x="0" y="3"/>
                </a:lnTo>
                <a:lnTo>
                  <a:pt x="1" y="2"/>
                </a:lnTo>
                <a:lnTo>
                  <a:pt x="3"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43" name="ïślíḑè">
            <a:extLst>
              <a:ext uri="{FF2B5EF4-FFF2-40B4-BE49-F238E27FC236}">
                <a16:creationId xmlns:a16="http://schemas.microsoft.com/office/drawing/2014/main" id="{305A29FC-2C94-4271-8106-68368B12B89D}"/>
              </a:ext>
            </a:extLst>
          </p:cNvPr>
          <p:cNvSpPr/>
          <p:nvPr/>
        </p:nvSpPr>
        <p:spPr bwMode="auto">
          <a:xfrm>
            <a:off x="11572309" y="4396986"/>
            <a:ext cx="22171" cy="57645"/>
          </a:xfrm>
          <a:custGeom>
            <a:avLst/>
            <a:gdLst>
              <a:gd name="T0" fmla="*/ 1 w 3"/>
              <a:gd name="T1" fmla="*/ 7 h 8"/>
              <a:gd name="T2" fmla="*/ 0 w 3"/>
              <a:gd name="T3" fmla="*/ 4 h 8"/>
              <a:gd name="T4" fmla="*/ 0 w 3"/>
              <a:gd name="T5" fmla="*/ 2 h 8"/>
              <a:gd name="T6" fmla="*/ 0 w 3"/>
              <a:gd name="T7" fmla="*/ 0 h 8"/>
              <a:gd name="T8" fmla="*/ 0 w 3"/>
              <a:gd name="T9" fmla="*/ 0 h 8"/>
              <a:gd name="T10" fmla="*/ 1 w 3"/>
              <a:gd name="T11" fmla="*/ 0 h 8"/>
              <a:gd name="T12" fmla="*/ 1 w 3"/>
              <a:gd name="T13" fmla="*/ 0 h 8"/>
              <a:gd name="T14" fmla="*/ 1 w 3"/>
              <a:gd name="T15" fmla="*/ 0 h 8"/>
              <a:gd name="T16" fmla="*/ 1 w 3"/>
              <a:gd name="T17" fmla="*/ 2 h 8"/>
              <a:gd name="T18" fmla="*/ 1 w 3"/>
              <a:gd name="T19" fmla="*/ 2 h 8"/>
              <a:gd name="T20" fmla="*/ 1 w 3"/>
              <a:gd name="T21" fmla="*/ 2 h 8"/>
              <a:gd name="T22" fmla="*/ 1 w 3"/>
              <a:gd name="T23" fmla="*/ 2 h 8"/>
              <a:gd name="T24" fmla="*/ 1 w 3"/>
              <a:gd name="T25" fmla="*/ 2 h 8"/>
              <a:gd name="T26" fmla="*/ 1 w 3"/>
              <a:gd name="T27" fmla="*/ 2 h 8"/>
              <a:gd name="T28" fmla="*/ 1 w 3"/>
              <a:gd name="T29" fmla="*/ 2 h 8"/>
              <a:gd name="T30" fmla="*/ 1 w 3"/>
              <a:gd name="T31" fmla="*/ 2 h 8"/>
              <a:gd name="T32" fmla="*/ 1 w 3"/>
              <a:gd name="T33" fmla="*/ 2 h 8"/>
              <a:gd name="T34" fmla="*/ 1 w 3"/>
              <a:gd name="T35" fmla="*/ 2 h 8"/>
              <a:gd name="T36" fmla="*/ 1 w 3"/>
              <a:gd name="T37" fmla="*/ 2 h 8"/>
              <a:gd name="T38" fmla="*/ 1 w 3"/>
              <a:gd name="T39" fmla="*/ 2 h 8"/>
              <a:gd name="T40" fmla="*/ 1 w 3"/>
              <a:gd name="T41" fmla="*/ 2 h 8"/>
              <a:gd name="T42" fmla="*/ 1 w 3"/>
              <a:gd name="T43" fmla="*/ 2 h 8"/>
              <a:gd name="T44" fmla="*/ 1 w 3"/>
              <a:gd name="T45" fmla="*/ 2 h 8"/>
              <a:gd name="T46" fmla="*/ 1 w 3"/>
              <a:gd name="T47" fmla="*/ 2 h 8"/>
              <a:gd name="T48" fmla="*/ 1 w 3"/>
              <a:gd name="T49" fmla="*/ 2 h 8"/>
              <a:gd name="T50" fmla="*/ 1 w 3"/>
              <a:gd name="T51" fmla="*/ 2 h 8"/>
              <a:gd name="T52" fmla="*/ 1 w 3"/>
              <a:gd name="T53" fmla="*/ 2 h 8"/>
              <a:gd name="T54" fmla="*/ 1 w 3"/>
              <a:gd name="T55" fmla="*/ 2 h 8"/>
              <a:gd name="T56" fmla="*/ 1 w 3"/>
              <a:gd name="T57" fmla="*/ 2 h 8"/>
              <a:gd name="T58" fmla="*/ 1 w 3"/>
              <a:gd name="T59" fmla="*/ 2 h 8"/>
              <a:gd name="T60" fmla="*/ 1 w 3"/>
              <a:gd name="T61" fmla="*/ 2 h 8"/>
              <a:gd name="T62" fmla="*/ 1 w 3"/>
              <a:gd name="T63" fmla="*/ 2 h 8"/>
              <a:gd name="T64" fmla="*/ 1 w 3"/>
              <a:gd name="T65" fmla="*/ 2 h 8"/>
              <a:gd name="T66" fmla="*/ 1 w 3"/>
              <a:gd name="T67" fmla="*/ 2 h 8"/>
              <a:gd name="T68" fmla="*/ 1 w 3"/>
              <a:gd name="T69" fmla="*/ 2 h 8"/>
              <a:gd name="T70" fmla="*/ 1 w 3"/>
              <a:gd name="T71" fmla="*/ 2 h 8"/>
              <a:gd name="T72" fmla="*/ 1 w 3"/>
              <a:gd name="T73" fmla="*/ 2 h 8"/>
              <a:gd name="T74" fmla="*/ 1 w 3"/>
              <a:gd name="T75" fmla="*/ 2 h 8"/>
              <a:gd name="T76" fmla="*/ 1 w 3"/>
              <a:gd name="T77" fmla="*/ 2 h 8"/>
              <a:gd name="T78" fmla="*/ 1 w 3"/>
              <a:gd name="T79" fmla="*/ 2 h 8"/>
              <a:gd name="T80" fmla="*/ 1 w 3"/>
              <a:gd name="T81" fmla="*/ 2 h 8"/>
              <a:gd name="T82" fmla="*/ 1 w 3"/>
              <a:gd name="T83" fmla="*/ 2 h 8"/>
              <a:gd name="T84" fmla="*/ 1 w 3"/>
              <a:gd name="T85" fmla="*/ 2 h 8"/>
              <a:gd name="T86" fmla="*/ 1 w 3"/>
              <a:gd name="T87" fmla="*/ 2 h 8"/>
              <a:gd name="T88" fmla="*/ 2 w 3"/>
              <a:gd name="T89" fmla="*/ 6 h 8"/>
              <a:gd name="T90" fmla="*/ 2 w 3"/>
              <a:gd name="T91" fmla="*/ 8 h 8"/>
              <a:gd name="T92" fmla="*/ 3 w 3"/>
              <a:gd name="T93" fmla="*/ 8 h 8"/>
              <a:gd name="T94" fmla="*/ 1 w 3"/>
              <a:gd name="T95"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 h="8">
                <a:moveTo>
                  <a:pt x="1" y="7"/>
                </a:moveTo>
                <a:cubicBezTo>
                  <a:pt x="1" y="6"/>
                  <a:pt x="0" y="5"/>
                  <a:pt x="0" y="4"/>
                </a:cubicBezTo>
                <a:cubicBezTo>
                  <a:pt x="0" y="3"/>
                  <a:pt x="0" y="3"/>
                  <a:pt x="0" y="2"/>
                </a:cubicBez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2" y="6"/>
                  <a:pt x="2" y="6"/>
                  <a:pt x="2" y="6"/>
                </a:cubicBezTo>
                <a:cubicBezTo>
                  <a:pt x="2" y="8"/>
                  <a:pt x="2" y="8"/>
                  <a:pt x="2" y="8"/>
                </a:cubicBezTo>
                <a:cubicBezTo>
                  <a:pt x="3" y="8"/>
                  <a:pt x="3" y="8"/>
                  <a:pt x="3" y="8"/>
                </a:cubicBezTo>
                <a:cubicBezTo>
                  <a:pt x="2" y="8"/>
                  <a:pt x="2" y="7"/>
                  <a:pt x="1" y="7"/>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44" name="iṣlidè">
            <a:extLst>
              <a:ext uri="{FF2B5EF4-FFF2-40B4-BE49-F238E27FC236}">
                <a16:creationId xmlns:a16="http://schemas.microsoft.com/office/drawing/2014/main" id="{2A37B7FF-8CC4-4E97-816A-D494557E82C7}"/>
              </a:ext>
            </a:extLst>
          </p:cNvPr>
          <p:cNvSpPr/>
          <p:nvPr/>
        </p:nvSpPr>
        <p:spPr bwMode="auto">
          <a:xfrm>
            <a:off x="2251498" y="5070993"/>
            <a:ext cx="0" cy="8868"/>
          </a:xfrm>
          <a:custGeom>
            <a:avLst/>
            <a:gdLst>
              <a:gd name="T0" fmla="*/ 1 h 1"/>
              <a:gd name="T1" fmla="*/ 1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1"/>
                </a:cubicBezTo>
                <a:cubicBezTo>
                  <a:pt x="0" y="0"/>
                  <a:pt x="0" y="0"/>
                  <a:pt x="0" y="0"/>
                </a:cubicBezTo>
                <a:cubicBezTo>
                  <a:pt x="0" y="0"/>
                  <a:pt x="0" y="1"/>
                  <a:pt x="0" y="1"/>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45" name="îşľîḑe">
            <a:extLst>
              <a:ext uri="{FF2B5EF4-FFF2-40B4-BE49-F238E27FC236}">
                <a16:creationId xmlns:a16="http://schemas.microsoft.com/office/drawing/2014/main" id="{CBA90B9C-574D-4120-8C06-64025D30A2D1}"/>
              </a:ext>
            </a:extLst>
          </p:cNvPr>
          <p:cNvSpPr/>
          <p:nvPr/>
        </p:nvSpPr>
        <p:spPr bwMode="auto">
          <a:xfrm>
            <a:off x="2770307" y="5558762"/>
            <a:ext cx="4434" cy="44342"/>
          </a:xfrm>
          <a:custGeom>
            <a:avLst/>
            <a:gdLst>
              <a:gd name="T0" fmla="*/ 1 w 1"/>
              <a:gd name="T1" fmla="*/ 6 h 6"/>
              <a:gd name="T2" fmla="*/ 0 w 1"/>
              <a:gd name="T3" fmla="*/ 6 h 6"/>
              <a:gd name="T4" fmla="*/ 0 w 1"/>
              <a:gd name="T5" fmla="*/ 6 h 6"/>
              <a:gd name="T6" fmla="*/ 0 w 1"/>
              <a:gd name="T7" fmla="*/ 2 h 6"/>
              <a:gd name="T8" fmla="*/ 0 w 1"/>
              <a:gd name="T9" fmla="*/ 1 h 6"/>
              <a:gd name="T10" fmla="*/ 0 w 1"/>
              <a:gd name="T11" fmla="*/ 0 h 6"/>
              <a:gd name="T12" fmla="*/ 1 w 1"/>
              <a:gd name="T13" fmla="*/ 0 h 6"/>
              <a:gd name="T14" fmla="*/ 1 w 1"/>
              <a:gd name="T15" fmla="*/ 1 h 6"/>
              <a:gd name="T16" fmla="*/ 1 w 1"/>
              <a:gd name="T17" fmla="*/ 1 h 6"/>
              <a:gd name="T18" fmla="*/ 1 w 1"/>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6">
                <a:moveTo>
                  <a:pt x="1" y="6"/>
                </a:moveTo>
                <a:cubicBezTo>
                  <a:pt x="1" y="6"/>
                  <a:pt x="0" y="6"/>
                  <a:pt x="0" y="6"/>
                </a:cubicBezTo>
                <a:cubicBezTo>
                  <a:pt x="0" y="6"/>
                  <a:pt x="0" y="6"/>
                  <a:pt x="0" y="6"/>
                </a:cubicBezTo>
                <a:cubicBezTo>
                  <a:pt x="0" y="2"/>
                  <a:pt x="0" y="2"/>
                  <a:pt x="0" y="2"/>
                </a:cubicBezTo>
                <a:cubicBezTo>
                  <a:pt x="0" y="1"/>
                  <a:pt x="0" y="1"/>
                  <a:pt x="0" y="1"/>
                </a:cubicBezTo>
                <a:cubicBezTo>
                  <a:pt x="0" y="1"/>
                  <a:pt x="0" y="1"/>
                  <a:pt x="0" y="0"/>
                </a:cubicBezTo>
                <a:cubicBezTo>
                  <a:pt x="0" y="0"/>
                  <a:pt x="0" y="0"/>
                  <a:pt x="1" y="0"/>
                </a:cubicBezTo>
                <a:cubicBezTo>
                  <a:pt x="1" y="0"/>
                  <a:pt x="1" y="0"/>
                  <a:pt x="1" y="1"/>
                </a:cubicBezTo>
                <a:cubicBezTo>
                  <a:pt x="1" y="1"/>
                  <a:pt x="1" y="1"/>
                  <a:pt x="1" y="1"/>
                </a:cubicBezTo>
                <a:lnTo>
                  <a:pt x="1" y="6"/>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46" name="ïşļîḑè">
            <a:extLst>
              <a:ext uri="{FF2B5EF4-FFF2-40B4-BE49-F238E27FC236}">
                <a16:creationId xmlns:a16="http://schemas.microsoft.com/office/drawing/2014/main" id="{47D46FFB-4C32-46FE-8557-E8424D44258C}"/>
              </a:ext>
            </a:extLst>
          </p:cNvPr>
          <p:cNvSpPr/>
          <p:nvPr/>
        </p:nvSpPr>
        <p:spPr bwMode="auto">
          <a:xfrm>
            <a:off x="2965414" y="5589801"/>
            <a:ext cx="0" cy="4434"/>
          </a:xfrm>
          <a:custGeom>
            <a:avLst/>
            <a:gdLst>
              <a:gd name="T0" fmla="*/ 1 h 1"/>
              <a:gd name="T1" fmla="*/ 1 h 1"/>
              <a:gd name="T2" fmla="*/ 0 h 1"/>
              <a:gd name="T3" fmla="*/ 1 h 1"/>
              <a:gd name="T4" fmla="*/ 1 h 1"/>
              <a:gd name="T5" fmla="*/ 1 h 1"/>
            </a:gdLst>
            <a:ahLst/>
            <a:cxnLst>
              <a:cxn ang="0">
                <a:pos x="0" y="T0"/>
              </a:cxn>
              <a:cxn ang="0">
                <a:pos x="0" y="T1"/>
              </a:cxn>
              <a:cxn ang="0">
                <a:pos x="0" y="T2"/>
              </a:cxn>
              <a:cxn ang="0">
                <a:pos x="0" y="T3"/>
              </a:cxn>
              <a:cxn ang="0">
                <a:pos x="0" y="T4"/>
              </a:cxn>
              <a:cxn ang="0">
                <a:pos x="0" y="T5"/>
              </a:cxn>
            </a:cxnLst>
            <a:rect l="0" t="0" r="r" b="b"/>
            <a:pathLst>
              <a:path h="1">
                <a:moveTo>
                  <a:pt x="0" y="1"/>
                </a:moveTo>
                <a:lnTo>
                  <a:pt x="0" y="1"/>
                </a:lnTo>
                <a:lnTo>
                  <a:pt x="0" y="0"/>
                </a:lnTo>
                <a:lnTo>
                  <a:pt x="0" y="1"/>
                </a:lnTo>
                <a:lnTo>
                  <a:pt x="0" y="1"/>
                </a:lnTo>
                <a:lnTo>
                  <a:pt x="0" y="1"/>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47" name="í$ľíḓè">
            <a:extLst>
              <a:ext uri="{FF2B5EF4-FFF2-40B4-BE49-F238E27FC236}">
                <a16:creationId xmlns:a16="http://schemas.microsoft.com/office/drawing/2014/main" id="{E7DE4A84-41AC-48C2-AF80-98D5A73E24BD}"/>
              </a:ext>
            </a:extLst>
          </p:cNvPr>
          <p:cNvSpPr/>
          <p:nvPr/>
        </p:nvSpPr>
        <p:spPr bwMode="auto">
          <a:xfrm>
            <a:off x="4260217" y="5594236"/>
            <a:ext cx="8868" cy="8868"/>
          </a:xfrm>
          <a:custGeom>
            <a:avLst/>
            <a:gdLst>
              <a:gd name="T0" fmla="*/ 2 w 2"/>
              <a:gd name="T1" fmla="*/ 2 h 2"/>
              <a:gd name="T2" fmla="*/ 0 w 2"/>
              <a:gd name="T3" fmla="*/ 2 h 2"/>
              <a:gd name="T4" fmla="*/ 0 w 2"/>
              <a:gd name="T5" fmla="*/ 2 h 2"/>
              <a:gd name="T6" fmla="*/ 2 w 2"/>
              <a:gd name="T7" fmla="*/ 0 h 2"/>
              <a:gd name="T8" fmla="*/ 2 w 2"/>
              <a:gd name="T9" fmla="*/ 0 h 2"/>
              <a:gd name="T10" fmla="*/ 2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2" y="2"/>
                </a:moveTo>
                <a:lnTo>
                  <a:pt x="0" y="2"/>
                </a:lnTo>
                <a:lnTo>
                  <a:pt x="0" y="2"/>
                </a:lnTo>
                <a:lnTo>
                  <a:pt x="2" y="0"/>
                </a:lnTo>
                <a:lnTo>
                  <a:pt x="2" y="0"/>
                </a:lnTo>
                <a:lnTo>
                  <a:pt x="2" y="2"/>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48" name="îSḻiḑé">
            <a:extLst>
              <a:ext uri="{FF2B5EF4-FFF2-40B4-BE49-F238E27FC236}">
                <a16:creationId xmlns:a16="http://schemas.microsoft.com/office/drawing/2014/main" id="{D5B687F7-D45D-4473-A56D-F54FAB223E28}"/>
              </a:ext>
            </a:extLst>
          </p:cNvPr>
          <p:cNvSpPr/>
          <p:nvPr/>
        </p:nvSpPr>
        <p:spPr bwMode="auto">
          <a:xfrm>
            <a:off x="4512970" y="5567630"/>
            <a:ext cx="0" cy="39908"/>
          </a:xfrm>
          <a:custGeom>
            <a:avLst/>
            <a:gdLst>
              <a:gd name="T0" fmla="*/ 6 h 6"/>
              <a:gd name="T1" fmla="*/ 6 h 6"/>
              <a:gd name="T2" fmla="*/ 6 h 6"/>
              <a:gd name="T3" fmla="*/ 1 h 6"/>
              <a:gd name="T4" fmla="*/ 1 h 6"/>
              <a:gd name="T5" fmla="*/ 0 h 6"/>
              <a:gd name="T6" fmla="*/ 0 h 6"/>
              <a:gd name="T7" fmla="*/ 1 h 6"/>
              <a:gd name="T8" fmla="*/ 1 h 6"/>
              <a:gd name="T9" fmla="*/ 6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6">
                <a:moveTo>
                  <a:pt x="0" y="6"/>
                </a:moveTo>
                <a:cubicBezTo>
                  <a:pt x="0" y="6"/>
                  <a:pt x="0" y="6"/>
                  <a:pt x="0" y="6"/>
                </a:cubicBezTo>
                <a:cubicBezTo>
                  <a:pt x="0" y="6"/>
                  <a:pt x="0" y="6"/>
                  <a:pt x="0" y="6"/>
                </a:cubicBezTo>
                <a:cubicBezTo>
                  <a:pt x="0" y="1"/>
                  <a:pt x="0" y="1"/>
                  <a:pt x="0" y="1"/>
                </a:cubicBezTo>
                <a:cubicBezTo>
                  <a:pt x="0" y="1"/>
                  <a:pt x="0" y="1"/>
                  <a:pt x="0" y="1"/>
                </a:cubicBezTo>
                <a:cubicBezTo>
                  <a:pt x="0" y="1"/>
                  <a:pt x="0" y="0"/>
                  <a:pt x="0" y="0"/>
                </a:cubicBezTo>
                <a:cubicBezTo>
                  <a:pt x="0" y="0"/>
                  <a:pt x="0" y="0"/>
                  <a:pt x="0" y="0"/>
                </a:cubicBezTo>
                <a:cubicBezTo>
                  <a:pt x="0" y="0"/>
                  <a:pt x="0" y="0"/>
                  <a:pt x="0" y="1"/>
                </a:cubicBezTo>
                <a:cubicBezTo>
                  <a:pt x="0" y="1"/>
                  <a:pt x="0" y="1"/>
                  <a:pt x="0" y="1"/>
                </a:cubicBezTo>
                <a:lnTo>
                  <a:pt x="0" y="6"/>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49" name="iṥľiḋê">
            <a:extLst>
              <a:ext uri="{FF2B5EF4-FFF2-40B4-BE49-F238E27FC236}">
                <a16:creationId xmlns:a16="http://schemas.microsoft.com/office/drawing/2014/main" id="{E9C31FCD-B5DC-475D-A71A-E5D71EDB8C6A}"/>
              </a:ext>
            </a:extLst>
          </p:cNvPr>
          <p:cNvSpPr/>
          <p:nvPr/>
        </p:nvSpPr>
        <p:spPr bwMode="auto">
          <a:xfrm>
            <a:off x="11297385" y="6760446"/>
            <a:ext cx="22171" cy="39908"/>
          </a:xfrm>
          <a:custGeom>
            <a:avLst/>
            <a:gdLst>
              <a:gd name="T0" fmla="*/ 0 w 5"/>
              <a:gd name="T1" fmla="*/ 4 h 9"/>
              <a:gd name="T2" fmla="*/ 0 w 5"/>
              <a:gd name="T3" fmla="*/ 4 h 9"/>
              <a:gd name="T4" fmla="*/ 5 w 5"/>
              <a:gd name="T5" fmla="*/ 0 h 9"/>
              <a:gd name="T6" fmla="*/ 5 w 5"/>
              <a:gd name="T7" fmla="*/ 0 h 9"/>
              <a:gd name="T8" fmla="*/ 5 w 5"/>
              <a:gd name="T9" fmla="*/ 0 h 9"/>
              <a:gd name="T10" fmla="*/ 2 w 5"/>
              <a:gd name="T11" fmla="*/ 5 h 9"/>
              <a:gd name="T12" fmla="*/ 2 w 5"/>
              <a:gd name="T13" fmla="*/ 7 h 9"/>
              <a:gd name="T14" fmla="*/ 2 w 5"/>
              <a:gd name="T15" fmla="*/ 9 h 9"/>
              <a:gd name="T16" fmla="*/ 0 w 5"/>
              <a:gd name="T17" fmla="*/ 5 h 9"/>
              <a:gd name="T18" fmla="*/ 0 w 5"/>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9">
                <a:moveTo>
                  <a:pt x="0" y="4"/>
                </a:moveTo>
                <a:lnTo>
                  <a:pt x="0" y="4"/>
                </a:lnTo>
                <a:lnTo>
                  <a:pt x="5" y="0"/>
                </a:lnTo>
                <a:lnTo>
                  <a:pt x="5" y="0"/>
                </a:lnTo>
                <a:lnTo>
                  <a:pt x="5" y="0"/>
                </a:lnTo>
                <a:lnTo>
                  <a:pt x="2" y="5"/>
                </a:lnTo>
                <a:lnTo>
                  <a:pt x="2" y="7"/>
                </a:lnTo>
                <a:lnTo>
                  <a:pt x="2" y="9"/>
                </a:lnTo>
                <a:lnTo>
                  <a:pt x="0" y="5"/>
                </a:lnTo>
                <a:lnTo>
                  <a:pt x="0" y="4"/>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50" name="ïṧ1ïdê">
            <a:extLst>
              <a:ext uri="{FF2B5EF4-FFF2-40B4-BE49-F238E27FC236}">
                <a16:creationId xmlns:a16="http://schemas.microsoft.com/office/drawing/2014/main" id="{F7A74E02-E117-4B7A-979C-5BD731CF79FF}"/>
              </a:ext>
            </a:extLst>
          </p:cNvPr>
          <p:cNvSpPr/>
          <p:nvPr/>
        </p:nvSpPr>
        <p:spPr bwMode="auto">
          <a:xfrm>
            <a:off x="11346161" y="6747143"/>
            <a:ext cx="22171" cy="13303"/>
          </a:xfrm>
          <a:custGeom>
            <a:avLst/>
            <a:gdLst>
              <a:gd name="T0" fmla="*/ 0 w 5"/>
              <a:gd name="T1" fmla="*/ 0 h 3"/>
              <a:gd name="T2" fmla="*/ 0 w 5"/>
              <a:gd name="T3" fmla="*/ 0 h 3"/>
              <a:gd name="T4" fmla="*/ 5 w 5"/>
              <a:gd name="T5" fmla="*/ 0 h 3"/>
              <a:gd name="T6" fmla="*/ 5 w 5"/>
              <a:gd name="T7" fmla="*/ 0 h 3"/>
              <a:gd name="T8" fmla="*/ 5 w 5"/>
              <a:gd name="T9" fmla="*/ 0 h 3"/>
              <a:gd name="T10" fmla="*/ 4 w 5"/>
              <a:gd name="T11" fmla="*/ 2 h 3"/>
              <a:gd name="T12" fmla="*/ 2 w 5"/>
              <a:gd name="T13" fmla="*/ 3 h 3"/>
              <a:gd name="T14" fmla="*/ 0 w 5"/>
              <a:gd name="T15" fmla="*/ 3 h 3"/>
              <a:gd name="T16" fmla="*/ 0 w 5"/>
              <a:gd name="T17" fmla="*/ 2 h 3"/>
              <a:gd name="T18" fmla="*/ 0 w 5"/>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0" y="0"/>
                </a:moveTo>
                <a:lnTo>
                  <a:pt x="0" y="0"/>
                </a:lnTo>
                <a:lnTo>
                  <a:pt x="5" y="0"/>
                </a:lnTo>
                <a:lnTo>
                  <a:pt x="5" y="0"/>
                </a:lnTo>
                <a:lnTo>
                  <a:pt x="5" y="0"/>
                </a:lnTo>
                <a:lnTo>
                  <a:pt x="4" y="2"/>
                </a:lnTo>
                <a:lnTo>
                  <a:pt x="2" y="3"/>
                </a:lnTo>
                <a:lnTo>
                  <a:pt x="0" y="3"/>
                </a:lnTo>
                <a:lnTo>
                  <a:pt x="0" y="2"/>
                </a:lnTo>
                <a:lnTo>
                  <a:pt x="0"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51" name="îṧľïḍé">
            <a:extLst>
              <a:ext uri="{FF2B5EF4-FFF2-40B4-BE49-F238E27FC236}">
                <a16:creationId xmlns:a16="http://schemas.microsoft.com/office/drawing/2014/main" id="{840BDEEF-117F-4612-AA2F-8BE35D7924C1}"/>
              </a:ext>
            </a:extLst>
          </p:cNvPr>
          <p:cNvSpPr/>
          <p:nvPr/>
        </p:nvSpPr>
        <p:spPr bwMode="auto">
          <a:xfrm>
            <a:off x="11310687" y="6654024"/>
            <a:ext cx="17737" cy="0"/>
          </a:xfrm>
          <a:custGeom>
            <a:avLst/>
            <a:gdLst>
              <a:gd name="T0" fmla="*/ 4 w 4"/>
              <a:gd name="T1" fmla="*/ 0 w 4"/>
              <a:gd name="T2" fmla="*/ 2 w 4"/>
              <a:gd name="T3" fmla="*/ 2 w 4"/>
              <a:gd name="T4" fmla="*/ 2 w 4"/>
              <a:gd name="T5" fmla="*/ 4 w 4"/>
            </a:gdLst>
            <a:ahLst/>
            <a:cxnLst>
              <a:cxn ang="0">
                <a:pos x="T0" y="0"/>
              </a:cxn>
              <a:cxn ang="0">
                <a:pos x="T1" y="0"/>
              </a:cxn>
              <a:cxn ang="0">
                <a:pos x="T2" y="0"/>
              </a:cxn>
              <a:cxn ang="0">
                <a:pos x="T3" y="0"/>
              </a:cxn>
              <a:cxn ang="0">
                <a:pos x="T4" y="0"/>
              </a:cxn>
              <a:cxn ang="0">
                <a:pos x="T5" y="0"/>
              </a:cxn>
            </a:cxnLst>
            <a:rect l="0" t="0" r="r" b="b"/>
            <a:pathLst>
              <a:path w="4">
                <a:moveTo>
                  <a:pt x="4" y="0"/>
                </a:moveTo>
                <a:lnTo>
                  <a:pt x="0" y="0"/>
                </a:lnTo>
                <a:lnTo>
                  <a:pt x="2" y="0"/>
                </a:lnTo>
                <a:lnTo>
                  <a:pt x="2" y="0"/>
                </a:lnTo>
                <a:lnTo>
                  <a:pt x="2" y="0"/>
                </a:lnTo>
                <a:lnTo>
                  <a:pt x="4"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52" name="iṩḷïdè">
            <a:extLst>
              <a:ext uri="{FF2B5EF4-FFF2-40B4-BE49-F238E27FC236}">
                <a16:creationId xmlns:a16="http://schemas.microsoft.com/office/drawing/2014/main" id="{74580934-3B73-4CBA-BA8B-3FBF554C75F7}"/>
              </a:ext>
            </a:extLst>
          </p:cNvPr>
          <p:cNvSpPr/>
          <p:nvPr/>
        </p:nvSpPr>
        <p:spPr bwMode="auto">
          <a:xfrm>
            <a:off x="11306253" y="6631853"/>
            <a:ext cx="4434" cy="13303"/>
          </a:xfrm>
          <a:custGeom>
            <a:avLst/>
            <a:gdLst>
              <a:gd name="T0" fmla="*/ 0 w 1"/>
              <a:gd name="T1" fmla="*/ 2 h 3"/>
              <a:gd name="T2" fmla="*/ 1 w 1"/>
              <a:gd name="T3" fmla="*/ 0 h 3"/>
              <a:gd name="T4" fmla="*/ 1 w 1"/>
              <a:gd name="T5" fmla="*/ 2 h 3"/>
              <a:gd name="T6" fmla="*/ 1 w 1"/>
              <a:gd name="T7" fmla="*/ 2 h 3"/>
              <a:gd name="T8" fmla="*/ 0 w 1"/>
              <a:gd name="T9" fmla="*/ 3 h 3"/>
              <a:gd name="T10" fmla="*/ 0 w 1"/>
              <a:gd name="T11" fmla="*/ 2 h 3"/>
            </a:gdLst>
            <a:ahLst/>
            <a:cxnLst>
              <a:cxn ang="0">
                <a:pos x="T0" y="T1"/>
              </a:cxn>
              <a:cxn ang="0">
                <a:pos x="T2" y="T3"/>
              </a:cxn>
              <a:cxn ang="0">
                <a:pos x="T4" y="T5"/>
              </a:cxn>
              <a:cxn ang="0">
                <a:pos x="T6" y="T7"/>
              </a:cxn>
              <a:cxn ang="0">
                <a:pos x="T8" y="T9"/>
              </a:cxn>
              <a:cxn ang="0">
                <a:pos x="T10" y="T11"/>
              </a:cxn>
            </a:cxnLst>
            <a:rect l="0" t="0" r="r" b="b"/>
            <a:pathLst>
              <a:path w="1" h="3">
                <a:moveTo>
                  <a:pt x="0" y="2"/>
                </a:moveTo>
                <a:lnTo>
                  <a:pt x="1" y="0"/>
                </a:lnTo>
                <a:lnTo>
                  <a:pt x="1" y="2"/>
                </a:lnTo>
                <a:lnTo>
                  <a:pt x="1" y="2"/>
                </a:lnTo>
                <a:lnTo>
                  <a:pt x="0" y="3"/>
                </a:lnTo>
                <a:lnTo>
                  <a:pt x="0" y="2"/>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53" name="iṧḻïḑe">
            <a:extLst>
              <a:ext uri="{FF2B5EF4-FFF2-40B4-BE49-F238E27FC236}">
                <a16:creationId xmlns:a16="http://schemas.microsoft.com/office/drawing/2014/main" id="{35882E0B-CC78-4C94-93E3-035E5968B105}"/>
              </a:ext>
            </a:extLst>
          </p:cNvPr>
          <p:cNvSpPr/>
          <p:nvPr/>
        </p:nvSpPr>
        <p:spPr bwMode="auto">
          <a:xfrm>
            <a:off x="11368332" y="6680630"/>
            <a:ext cx="17737" cy="39908"/>
          </a:xfrm>
          <a:custGeom>
            <a:avLst/>
            <a:gdLst>
              <a:gd name="T0" fmla="*/ 0 w 4"/>
              <a:gd name="T1" fmla="*/ 4 h 9"/>
              <a:gd name="T2" fmla="*/ 2 w 4"/>
              <a:gd name="T3" fmla="*/ 4 h 9"/>
              <a:gd name="T4" fmla="*/ 4 w 4"/>
              <a:gd name="T5" fmla="*/ 2 h 9"/>
              <a:gd name="T6" fmla="*/ 4 w 4"/>
              <a:gd name="T7" fmla="*/ 0 h 9"/>
              <a:gd name="T8" fmla="*/ 4 w 4"/>
              <a:gd name="T9" fmla="*/ 2 h 9"/>
              <a:gd name="T10" fmla="*/ 4 w 4"/>
              <a:gd name="T11" fmla="*/ 5 h 9"/>
              <a:gd name="T12" fmla="*/ 4 w 4"/>
              <a:gd name="T13" fmla="*/ 7 h 9"/>
              <a:gd name="T14" fmla="*/ 4 w 4"/>
              <a:gd name="T15" fmla="*/ 9 h 9"/>
              <a:gd name="T16" fmla="*/ 2 w 4"/>
              <a:gd name="T17" fmla="*/ 4 h 9"/>
              <a:gd name="T18" fmla="*/ 0 w 4"/>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9">
                <a:moveTo>
                  <a:pt x="0" y="4"/>
                </a:moveTo>
                <a:lnTo>
                  <a:pt x="2" y="4"/>
                </a:lnTo>
                <a:lnTo>
                  <a:pt x="4" y="2"/>
                </a:lnTo>
                <a:lnTo>
                  <a:pt x="4" y="0"/>
                </a:lnTo>
                <a:lnTo>
                  <a:pt x="4" y="2"/>
                </a:lnTo>
                <a:lnTo>
                  <a:pt x="4" y="5"/>
                </a:lnTo>
                <a:lnTo>
                  <a:pt x="4" y="7"/>
                </a:lnTo>
                <a:lnTo>
                  <a:pt x="4" y="9"/>
                </a:lnTo>
                <a:lnTo>
                  <a:pt x="2" y="4"/>
                </a:lnTo>
                <a:lnTo>
                  <a:pt x="0" y="4"/>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54" name="íṩlïḑe">
            <a:extLst>
              <a:ext uri="{FF2B5EF4-FFF2-40B4-BE49-F238E27FC236}">
                <a16:creationId xmlns:a16="http://schemas.microsoft.com/office/drawing/2014/main" id="{B7144786-0B7F-4257-8366-94D63CA853FF}"/>
              </a:ext>
            </a:extLst>
          </p:cNvPr>
          <p:cNvSpPr/>
          <p:nvPr/>
        </p:nvSpPr>
        <p:spPr bwMode="auto">
          <a:xfrm>
            <a:off x="11346161" y="6631853"/>
            <a:ext cx="31040" cy="22171"/>
          </a:xfrm>
          <a:custGeom>
            <a:avLst/>
            <a:gdLst>
              <a:gd name="T0" fmla="*/ 4 w 7"/>
              <a:gd name="T1" fmla="*/ 5 h 5"/>
              <a:gd name="T2" fmla="*/ 2 w 7"/>
              <a:gd name="T3" fmla="*/ 5 h 5"/>
              <a:gd name="T4" fmla="*/ 0 w 7"/>
              <a:gd name="T5" fmla="*/ 5 h 5"/>
              <a:gd name="T6" fmla="*/ 2 w 7"/>
              <a:gd name="T7" fmla="*/ 5 h 5"/>
              <a:gd name="T8" fmla="*/ 2 w 7"/>
              <a:gd name="T9" fmla="*/ 3 h 5"/>
              <a:gd name="T10" fmla="*/ 2 w 7"/>
              <a:gd name="T11" fmla="*/ 3 h 5"/>
              <a:gd name="T12" fmla="*/ 4 w 7"/>
              <a:gd name="T13" fmla="*/ 2 h 5"/>
              <a:gd name="T14" fmla="*/ 4 w 7"/>
              <a:gd name="T15" fmla="*/ 2 h 5"/>
              <a:gd name="T16" fmla="*/ 4 w 7"/>
              <a:gd name="T17" fmla="*/ 0 h 5"/>
              <a:gd name="T18" fmla="*/ 5 w 7"/>
              <a:gd name="T19" fmla="*/ 3 h 5"/>
              <a:gd name="T20" fmla="*/ 7 w 7"/>
              <a:gd name="T21" fmla="*/ 5 h 5"/>
              <a:gd name="T22" fmla="*/ 7 w 7"/>
              <a:gd name="T23" fmla="*/ 5 h 5"/>
              <a:gd name="T24" fmla="*/ 4 w 7"/>
              <a:gd name="T25" fmla="*/ 5 h 5"/>
              <a:gd name="T26" fmla="*/ 4 w 7"/>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4" y="5"/>
                </a:moveTo>
                <a:lnTo>
                  <a:pt x="2" y="5"/>
                </a:lnTo>
                <a:lnTo>
                  <a:pt x="0" y="5"/>
                </a:lnTo>
                <a:lnTo>
                  <a:pt x="2" y="5"/>
                </a:lnTo>
                <a:lnTo>
                  <a:pt x="2" y="3"/>
                </a:lnTo>
                <a:lnTo>
                  <a:pt x="2" y="3"/>
                </a:lnTo>
                <a:lnTo>
                  <a:pt x="4" y="2"/>
                </a:lnTo>
                <a:lnTo>
                  <a:pt x="4" y="2"/>
                </a:lnTo>
                <a:lnTo>
                  <a:pt x="4" y="0"/>
                </a:lnTo>
                <a:lnTo>
                  <a:pt x="5" y="3"/>
                </a:lnTo>
                <a:lnTo>
                  <a:pt x="7" y="5"/>
                </a:lnTo>
                <a:lnTo>
                  <a:pt x="7" y="5"/>
                </a:lnTo>
                <a:lnTo>
                  <a:pt x="4" y="5"/>
                </a:lnTo>
                <a:lnTo>
                  <a:pt x="4" y="5"/>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55" name="îšḷîḑé">
            <a:extLst>
              <a:ext uri="{FF2B5EF4-FFF2-40B4-BE49-F238E27FC236}">
                <a16:creationId xmlns:a16="http://schemas.microsoft.com/office/drawing/2014/main" id="{D3844256-AFE4-4DBB-8259-3C4285548C4F}"/>
              </a:ext>
            </a:extLst>
          </p:cNvPr>
          <p:cNvSpPr/>
          <p:nvPr/>
        </p:nvSpPr>
        <p:spPr bwMode="auto">
          <a:xfrm>
            <a:off x="11341727" y="6640722"/>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56" name="íṡlîḓê">
            <a:extLst>
              <a:ext uri="{FF2B5EF4-FFF2-40B4-BE49-F238E27FC236}">
                <a16:creationId xmlns:a16="http://schemas.microsoft.com/office/drawing/2014/main" id="{B2B629F1-D672-4E67-9ACD-0482A97CAA72}"/>
              </a:ext>
            </a:extLst>
          </p:cNvPr>
          <p:cNvSpPr/>
          <p:nvPr/>
        </p:nvSpPr>
        <p:spPr bwMode="auto">
          <a:xfrm>
            <a:off x="11448150" y="6680630"/>
            <a:ext cx="13303" cy="39908"/>
          </a:xfrm>
          <a:custGeom>
            <a:avLst/>
            <a:gdLst>
              <a:gd name="T0" fmla="*/ 0 w 3"/>
              <a:gd name="T1" fmla="*/ 2 h 9"/>
              <a:gd name="T2" fmla="*/ 0 w 3"/>
              <a:gd name="T3" fmla="*/ 0 h 9"/>
              <a:gd name="T4" fmla="*/ 0 w 3"/>
              <a:gd name="T5" fmla="*/ 0 h 9"/>
              <a:gd name="T6" fmla="*/ 0 w 3"/>
              <a:gd name="T7" fmla="*/ 0 h 9"/>
              <a:gd name="T8" fmla="*/ 3 w 3"/>
              <a:gd name="T9" fmla="*/ 4 h 9"/>
              <a:gd name="T10" fmla="*/ 3 w 3"/>
              <a:gd name="T11" fmla="*/ 4 h 9"/>
              <a:gd name="T12" fmla="*/ 3 w 3"/>
              <a:gd name="T13" fmla="*/ 5 h 9"/>
              <a:gd name="T14" fmla="*/ 2 w 3"/>
              <a:gd name="T15" fmla="*/ 7 h 9"/>
              <a:gd name="T16" fmla="*/ 0 w 3"/>
              <a:gd name="T17" fmla="*/ 9 h 9"/>
              <a:gd name="T18" fmla="*/ 0 w 3"/>
              <a:gd name="T19" fmla="*/ 5 h 9"/>
              <a:gd name="T20" fmla="*/ 0 w 3"/>
              <a:gd name="T21" fmla="*/ 2 h 9"/>
              <a:gd name="T22" fmla="*/ 0 w 3"/>
              <a:gd name="T23"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9">
                <a:moveTo>
                  <a:pt x="0" y="2"/>
                </a:moveTo>
                <a:lnTo>
                  <a:pt x="0" y="0"/>
                </a:lnTo>
                <a:lnTo>
                  <a:pt x="0" y="0"/>
                </a:lnTo>
                <a:lnTo>
                  <a:pt x="0" y="0"/>
                </a:lnTo>
                <a:lnTo>
                  <a:pt x="3" y="4"/>
                </a:lnTo>
                <a:lnTo>
                  <a:pt x="3" y="4"/>
                </a:lnTo>
                <a:lnTo>
                  <a:pt x="3" y="5"/>
                </a:lnTo>
                <a:lnTo>
                  <a:pt x="2" y="7"/>
                </a:lnTo>
                <a:lnTo>
                  <a:pt x="0" y="9"/>
                </a:lnTo>
                <a:lnTo>
                  <a:pt x="0" y="5"/>
                </a:lnTo>
                <a:lnTo>
                  <a:pt x="0" y="2"/>
                </a:lnTo>
                <a:lnTo>
                  <a:pt x="0" y="2"/>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57" name="ïṥļíďe">
            <a:extLst>
              <a:ext uri="{FF2B5EF4-FFF2-40B4-BE49-F238E27FC236}">
                <a16:creationId xmlns:a16="http://schemas.microsoft.com/office/drawing/2014/main" id="{681F9ED5-7991-495E-AF61-9843164F69D9}"/>
              </a:ext>
            </a:extLst>
          </p:cNvPr>
          <p:cNvSpPr/>
          <p:nvPr/>
        </p:nvSpPr>
        <p:spPr bwMode="auto">
          <a:xfrm>
            <a:off x="11403807" y="6631853"/>
            <a:ext cx="31040" cy="22171"/>
          </a:xfrm>
          <a:custGeom>
            <a:avLst/>
            <a:gdLst>
              <a:gd name="T0" fmla="*/ 2 w 7"/>
              <a:gd name="T1" fmla="*/ 5 h 5"/>
              <a:gd name="T2" fmla="*/ 2 w 7"/>
              <a:gd name="T3" fmla="*/ 5 h 5"/>
              <a:gd name="T4" fmla="*/ 0 w 7"/>
              <a:gd name="T5" fmla="*/ 5 h 5"/>
              <a:gd name="T6" fmla="*/ 0 w 7"/>
              <a:gd name="T7" fmla="*/ 3 h 5"/>
              <a:gd name="T8" fmla="*/ 0 w 7"/>
              <a:gd name="T9" fmla="*/ 3 h 5"/>
              <a:gd name="T10" fmla="*/ 2 w 7"/>
              <a:gd name="T11" fmla="*/ 3 h 5"/>
              <a:gd name="T12" fmla="*/ 2 w 7"/>
              <a:gd name="T13" fmla="*/ 2 h 5"/>
              <a:gd name="T14" fmla="*/ 2 w 7"/>
              <a:gd name="T15" fmla="*/ 0 h 5"/>
              <a:gd name="T16" fmla="*/ 4 w 7"/>
              <a:gd name="T17" fmla="*/ 0 h 5"/>
              <a:gd name="T18" fmla="*/ 4 w 7"/>
              <a:gd name="T19" fmla="*/ 2 h 5"/>
              <a:gd name="T20" fmla="*/ 7 w 7"/>
              <a:gd name="T21" fmla="*/ 5 h 5"/>
              <a:gd name="T22" fmla="*/ 5 w 7"/>
              <a:gd name="T23" fmla="*/ 5 h 5"/>
              <a:gd name="T24" fmla="*/ 4 w 7"/>
              <a:gd name="T25" fmla="*/ 5 h 5"/>
              <a:gd name="T26" fmla="*/ 2 w 7"/>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2" y="5"/>
                </a:moveTo>
                <a:lnTo>
                  <a:pt x="2" y="5"/>
                </a:lnTo>
                <a:lnTo>
                  <a:pt x="0" y="5"/>
                </a:lnTo>
                <a:lnTo>
                  <a:pt x="0" y="3"/>
                </a:lnTo>
                <a:lnTo>
                  <a:pt x="0" y="3"/>
                </a:lnTo>
                <a:lnTo>
                  <a:pt x="2" y="3"/>
                </a:lnTo>
                <a:lnTo>
                  <a:pt x="2" y="2"/>
                </a:lnTo>
                <a:lnTo>
                  <a:pt x="2" y="0"/>
                </a:lnTo>
                <a:lnTo>
                  <a:pt x="4" y="0"/>
                </a:lnTo>
                <a:lnTo>
                  <a:pt x="4" y="2"/>
                </a:lnTo>
                <a:lnTo>
                  <a:pt x="7" y="5"/>
                </a:lnTo>
                <a:lnTo>
                  <a:pt x="5" y="5"/>
                </a:lnTo>
                <a:lnTo>
                  <a:pt x="4" y="5"/>
                </a:lnTo>
                <a:lnTo>
                  <a:pt x="2" y="5"/>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58" name="ïśľiďè">
            <a:extLst>
              <a:ext uri="{FF2B5EF4-FFF2-40B4-BE49-F238E27FC236}">
                <a16:creationId xmlns:a16="http://schemas.microsoft.com/office/drawing/2014/main" id="{83F03943-1A4C-40CF-8293-479BF4F08BE4}"/>
              </a:ext>
            </a:extLst>
          </p:cNvPr>
          <p:cNvSpPr/>
          <p:nvPr/>
        </p:nvSpPr>
        <p:spPr bwMode="auto">
          <a:xfrm>
            <a:off x="11399373" y="6609681"/>
            <a:ext cx="4434" cy="31040"/>
          </a:xfrm>
          <a:custGeom>
            <a:avLst/>
            <a:gdLst>
              <a:gd name="T0" fmla="*/ 0 w 1"/>
              <a:gd name="T1" fmla="*/ 3 h 7"/>
              <a:gd name="T2" fmla="*/ 0 w 1"/>
              <a:gd name="T3" fmla="*/ 2 h 7"/>
              <a:gd name="T4" fmla="*/ 0 w 1"/>
              <a:gd name="T5" fmla="*/ 0 h 7"/>
              <a:gd name="T6" fmla="*/ 0 w 1"/>
              <a:gd name="T7" fmla="*/ 0 h 7"/>
              <a:gd name="T8" fmla="*/ 1 w 1"/>
              <a:gd name="T9" fmla="*/ 3 h 7"/>
              <a:gd name="T10" fmla="*/ 1 w 1"/>
              <a:gd name="T11" fmla="*/ 3 h 7"/>
              <a:gd name="T12" fmla="*/ 1 w 1"/>
              <a:gd name="T13" fmla="*/ 5 h 7"/>
              <a:gd name="T14" fmla="*/ 0 w 1"/>
              <a:gd name="T15" fmla="*/ 5 h 7"/>
              <a:gd name="T16" fmla="*/ 0 w 1"/>
              <a:gd name="T17" fmla="*/ 7 h 7"/>
              <a:gd name="T18" fmla="*/ 0 w 1"/>
              <a:gd name="T19" fmla="*/ 7 h 7"/>
              <a:gd name="T20" fmla="*/ 0 w 1"/>
              <a:gd name="T21" fmla="*/ 7 h 7"/>
              <a:gd name="T22" fmla="*/ 0 w 1"/>
              <a:gd name="T23" fmla="*/ 5 h 7"/>
              <a:gd name="T24" fmla="*/ 0 w 1"/>
              <a:gd name="T25"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 h="7">
                <a:moveTo>
                  <a:pt x="0" y="3"/>
                </a:moveTo>
                <a:lnTo>
                  <a:pt x="0" y="2"/>
                </a:lnTo>
                <a:lnTo>
                  <a:pt x="0" y="0"/>
                </a:lnTo>
                <a:lnTo>
                  <a:pt x="0" y="0"/>
                </a:lnTo>
                <a:lnTo>
                  <a:pt x="1" y="3"/>
                </a:lnTo>
                <a:lnTo>
                  <a:pt x="1" y="3"/>
                </a:lnTo>
                <a:lnTo>
                  <a:pt x="1" y="5"/>
                </a:lnTo>
                <a:lnTo>
                  <a:pt x="0" y="5"/>
                </a:lnTo>
                <a:lnTo>
                  <a:pt x="0" y="7"/>
                </a:lnTo>
                <a:lnTo>
                  <a:pt x="0" y="7"/>
                </a:lnTo>
                <a:lnTo>
                  <a:pt x="0" y="7"/>
                </a:lnTo>
                <a:lnTo>
                  <a:pt x="0" y="5"/>
                </a:lnTo>
                <a:lnTo>
                  <a:pt x="0" y="3"/>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59" name="isliḍé">
            <a:extLst>
              <a:ext uri="{FF2B5EF4-FFF2-40B4-BE49-F238E27FC236}">
                <a16:creationId xmlns:a16="http://schemas.microsoft.com/office/drawing/2014/main" id="{DE3A256A-AB37-4009-8658-4C145E98C8CF}"/>
              </a:ext>
            </a:extLst>
          </p:cNvPr>
          <p:cNvSpPr/>
          <p:nvPr/>
        </p:nvSpPr>
        <p:spPr bwMode="auto">
          <a:xfrm>
            <a:off x="11425978" y="6600812"/>
            <a:ext cx="8868" cy="39908"/>
          </a:xfrm>
          <a:custGeom>
            <a:avLst/>
            <a:gdLst>
              <a:gd name="T0" fmla="*/ 0 w 2"/>
              <a:gd name="T1" fmla="*/ 5 h 9"/>
              <a:gd name="T2" fmla="*/ 0 w 2"/>
              <a:gd name="T3" fmla="*/ 5 h 9"/>
              <a:gd name="T4" fmla="*/ 0 w 2"/>
              <a:gd name="T5" fmla="*/ 4 h 9"/>
              <a:gd name="T6" fmla="*/ 2 w 2"/>
              <a:gd name="T7" fmla="*/ 2 h 9"/>
              <a:gd name="T8" fmla="*/ 2 w 2"/>
              <a:gd name="T9" fmla="*/ 0 h 9"/>
              <a:gd name="T10" fmla="*/ 2 w 2"/>
              <a:gd name="T11" fmla="*/ 4 h 9"/>
              <a:gd name="T12" fmla="*/ 2 w 2"/>
              <a:gd name="T13" fmla="*/ 5 h 9"/>
              <a:gd name="T14" fmla="*/ 2 w 2"/>
              <a:gd name="T15" fmla="*/ 7 h 9"/>
              <a:gd name="T16" fmla="*/ 2 w 2"/>
              <a:gd name="T17" fmla="*/ 9 h 9"/>
              <a:gd name="T18" fmla="*/ 2 w 2"/>
              <a:gd name="T19" fmla="*/ 9 h 9"/>
              <a:gd name="T20" fmla="*/ 2 w 2"/>
              <a:gd name="T21" fmla="*/ 7 h 9"/>
              <a:gd name="T22" fmla="*/ 0 w 2"/>
              <a:gd name="T23"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9">
                <a:moveTo>
                  <a:pt x="0" y="5"/>
                </a:moveTo>
                <a:lnTo>
                  <a:pt x="0" y="5"/>
                </a:lnTo>
                <a:lnTo>
                  <a:pt x="0" y="4"/>
                </a:lnTo>
                <a:lnTo>
                  <a:pt x="2" y="2"/>
                </a:lnTo>
                <a:lnTo>
                  <a:pt x="2" y="0"/>
                </a:lnTo>
                <a:lnTo>
                  <a:pt x="2" y="4"/>
                </a:lnTo>
                <a:lnTo>
                  <a:pt x="2" y="5"/>
                </a:lnTo>
                <a:lnTo>
                  <a:pt x="2" y="7"/>
                </a:lnTo>
                <a:lnTo>
                  <a:pt x="2" y="9"/>
                </a:lnTo>
                <a:lnTo>
                  <a:pt x="2" y="9"/>
                </a:lnTo>
                <a:lnTo>
                  <a:pt x="2" y="7"/>
                </a:lnTo>
                <a:lnTo>
                  <a:pt x="0" y="5"/>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60" name="íṧlíḋé">
            <a:extLst>
              <a:ext uri="{FF2B5EF4-FFF2-40B4-BE49-F238E27FC236}">
                <a16:creationId xmlns:a16="http://schemas.microsoft.com/office/drawing/2014/main" id="{7B9FA639-D6CA-4A23-ABBA-7E2149B2BDF1}"/>
              </a:ext>
            </a:extLst>
          </p:cNvPr>
          <p:cNvSpPr/>
          <p:nvPr/>
        </p:nvSpPr>
        <p:spPr bwMode="auto">
          <a:xfrm>
            <a:off x="11403807" y="6587510"/>
            <a:ext cx="8868" cy="8868"/>
          </a:xfrm>
          <a:custGeom>
            <a:avLst/>
            <a:gdLst>
              <a:gd name="T0" fmla="*/ 2 w 2"/>
              <a:gd name="T1" fmla="*/ 0 h 2"/>
              <a:gd name="T2" fmla="*/ 2 w 2"/>
              <a:gd name="T3" fmla="*/ 0 h 2"/>
              <a:gd name="T4" fmla="*/ 2 w 2"/>
              <a:gd name="T5" fmla="*/ 0 h 2"/>
              <a:gd name="T6" fmla="*/ 0 w 2"/>
              <a:gd name="T7" fmla="*/ 2 h 2"/>
              <a:gd name="T8" fmla="*/ 0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lnTo>
                  <a:pt x="2" y="0"/>
                </a:lnTo>
                <a:lnTo>
                  <a:pt x="2" y="0"/>
                </a:lnTo>
                <a:lnTo>
                  <a:pt x="0" y="2"/>
                </a:lnTo>
                <a:lnTo>
                  <a:pt x="0" y="0"/>
                </a:lnTo>
                <a:lnTo>
                  <a:pt x="2"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61" name="ïṩḻiḑê">
            <a:extLst>
              <a:ext uri="{FF2B5EF4-FFF2-40B4-BE49-F238E27FC236}">
                <a16:creationId xmlns:a16="http://schemas.microsoft.com/office/drawing/2014/main" id="{FFF4669D-1D84-4AD6-AE61-D488C17D1496}"/>
              </a:ext>
            </a:extLst>
          </p:cNvPr>
          <p:cNvSpPr/>
          <p:nvPr/>
        </p:nvSpPr>
        <p:spPr bwMode="auto">
          <a:xfrm>
            <a:off x="11412676" y="6600812"/>
            <a:ext cx="8868" cy="8868"/>
          </a:xfrm>
          <a:custGeom>
            <a:avLst/>
            <a:gdLst>
              <a:gd name="T0" fmla="*/ 0 w 2"/>
              <a:gd name="T1" fmla="*/ 0 h 2"/>
              <a:gd name="T2" fmla="*/ 2 w 2"/>
              <a:gd name="T3" fmla="*/ 0 h 2"/>
              <a:gd name="T4" fmla="*/ 2 w 2"/>
              <a:gd name="T5" fmla="*/ 0 h 2"/>
              <a:gd name="T6" fmla="*/ 2 w 2"/>
              <a:gd name="T7" fmla="*/ 0 h 2"/>
              <a:gd name="T8" fmla="*/ 2 w 2"/>
              <a:gd name="T9" fmla="*/ 2 h 2"/>
              <a:gd name="T10" fmla="*/ 2 w 2"/>
              <a:gd name="T11" fmla="*/ 2 h 2"/>
              <a:gd name="T12" fmla="*/ 0 w 2"/>
              <a:gd name="T13" fmla="*/ 0 h 2"/>
              <a:gd name="T14" fmla="*/ 0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0" y="0"/>
                </a:moveTo>
                <a:lnTo>
                  <a:pt x="2" y="0"/>
                </a:lnTo>
                <a:lnTo>
                  <a:pt x="2" y="0"/>
                </a:lnTo>
                <a:lnTo>
                  <a:pt x="2" y="0"/>
                </a:lnTo>
                <a:lnTo>
                  <a:pt x="2" y="2"/>
                </a:lnTo>
                <a:lnTo>
                  <a:pt x="2" y="2"/>
                </a:lnTo>
                <a:lnTo>
                  <a:pt x="0" y="0"/>
                </a:lnTo>
                <a:lnTo>
                  <a:pt x="0"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62" name="iṡ1ïďe">
            <a:extLst>
              <a:ext uri="{FF2B5EF4-FFF2-40B4-BE49-F238E27FC236}">
                <a16:creationId xmlns:a16="http://schemas.microsoft.com/office/drawing/2014/main" id="{7B9C5C6A-6280-40D2-A5AF-D61020E739CB}"/>
              </a:ext>
            </a:extLst>
          </p:cNvPr>
          <p:cNvSpPr/>
          <p:nvPr/>
        </p:nvSpPr>
        <p:spPr bwMode="auto">
          <a:xfrm>
            <a:off x="11470321" y="6538733"/>
            <a:ext cx="79816" cy="35474"/>
          </a:xfrm>
          <a:custGeom>
            <a:avLst/>
            <a:gdLst>
              <a:gd name="T0" fmla="*/ 0 w 18"/>
              <a:gd name="T1" fmla="*/ 8 h 8"/>
              <a:gd name="T2" fmla="*/ 2 w 18"/>
              <a:gd name="T3" fmla="*/ 8 h 8"/>
              <a:gd name="T4" fmla="*/ 3 w 18"/>
              <a:gd name="T5" fmla="*/ 6 h 8"/>
              <a:gd name="T6" fmla="*/ 7 w 18"/>
              <a:gd name="T7" fmla="*/ 6 h 8"/>
              <a:gd name="T8" fmla="*/ 8 w 18"/>
              <a:gd name="T9" fmla="*/ 5 h 8"/>
              <a:gd name="T10" fmla="*/ 10 w 18"/>
              <a:gd name="T11" fmla="*/ 5 h 8"/>
              <a:gd name="T12" fmla="*/ 10 w 18"/>
              <a:gd name="T13" fmla="*/ 3 h 8"/>
              <a:gd name="T14" fmla="*/ 11 w 18"/>
              <a:gd name="T15" fmla="*/ 3 h 8"/>
              <a:gd name="T16" fmla="*/ 13 w 18"/>
              <a:gd name="T17" fmla="*/ 3 h 8"/>
              <a:gd name="T18" fmla="*/ 13 w 18"/>
              <a:gd name="T19" fmla="*/ 3 h 8"/>
              <a:gd name="T20" fmla="*/ 15 w 18"/>
              <a:gd name="T21" fmla="*/ 1 h 8"/>
              <a:gd name="T22" fmla="*/ 16 w 18"/>
              <a:gd name="T23" fmla="*/ 1 h 8"/>
              <a:gd name="T24" fmla="*/ 16 w 18"/>
              <a:gd name="T25" fmla="*/ 0 h 8"/>
              <a:gd name="T26" fmla="*/ 18 w 18"/>
              <a:gd name="T27" fmla="*/ 0 h 8"/>
              <a:gd name="T28" fmla="*/ 18 w 18"/>
              <a:gd name="T29" fmla="*/ 1 h 8"/>
              <a:gd name="T30" fmla="*/ 18 w 18"/>
              <a:gd name="T31" fmla="*/ 3 h 8"/>
              <a:gd name="T32" fmla="*/ 18 w 18"/>
              <a:gd name="T33" fmla="*/ 5 h 8"/>
              <a:gd name="T34" fmla="*/ 16 w 18"/>
              <a:gd name="T35" fmla="*/ 6 h 8"/>
              <a:gd name="T36" fmla="*/ 16 w 18"/>
              <a:gd name="T37" fmla="*/ 6 h 8"/>
              <a:gd name="T38" fmla="*/ 16 w 18"/>
              <a:gd name="T39" fmla="*/ 8 h 8"/>
              <a:gd name="T40" fmla="*/ 16 w 18"/>
              <a:gd name="T41" fmla="*/ 8 h 8"/>
              <a:gd name="T42" fmla="*/ 15 w 18"/>
              <a:gd name="T43" fmla="*/ 8 h 8"/>
              <a:gd name="T44" fmla="*/ 13 w 18"/>
              <a:gd name="T45" fmla="*/ 8 h 8"/>
              <a:gd name="T46" fmla="*/ 11 w 18"/>
              <a:gd name="T47" fmla="*/ 8 h 8"/>
              <a:gd name="T48" fmla="*/ 8 w 18"/>
              <a:gd name="T49" fmla="*/ 8 h 8"/>
              <a:gd name="T50" fmla="*/ 7 w 18"/>
              <a:gd name="T51" fmla="*/ 8 h 8"/>
              <a:gd name="T52" fmla="*/ 7 w 18"/>
              <a:gd name="T53" fmla="*/ 8 h 8"/>
              <a:gd name="T54" fmla="*/ 7 w 18"/>
              <a:gd name="T55" fmla="*/ 8 h 8"/>
              <a:gd name="T56" fmla="*/ 5 w 18"/>
              <a:gd name="T57" fmla="*/ 8 h 8"/>
              <a:gd name="T58" fmla="*/ 2 w 18"/>
              <a:gd name="T59" fmla="*/ 8 h 8"/>
              <a:gd name="T60" fmla="*/ 0 w 18"/>
              <a:gd name="T61" fmla="*/ 8 h 8"/>
              <a:gd name="T62" fmla="*/ 0 w 18"/>
              <a:gd name="T63" fmla="*/ 8 h 8"/>
              <a:gd name="T64" fmla="*/ 0 w 18"/>
              <a:gd name="T6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 h="8">
                <a:moveTo>
                  <a:pt x="0" y="8"/>
                </a:moveTo>
                <a:lnTo>
                  <a:pt x="2" y="8"/>
                </a:lnTo>
                <a:lnTo>
                  <a:pt x="3" y="6"/>
                </a:lnTo>
                <a:lnTo>
                  <a:pt x="7" y="6"/>
                </a:lnTo>
                <a:lnTo>
                  <a:pt x="8" y="5"/>
                </a:lnTo>
                <a:lnTo>
                  <a:pt x="10" y="5"/>
                </a:lnTo>
                <a:lnTo>
                  <a:pt x="10" y="3"/>
                </a:lnTo>
                <a:lnTo>
                  <a:pt x="11" y="3"/>
                </a:lnTo>
                <a:lnTo>
                  <a:pt x="13" y="3"/>
                </a:lnTo>
                <a:lnTo>
                  <a:pt x="13" y="3"/>
                </a:lnTo>
                <a:lnTo>
                  <a:pt x="15" y="1"/>
                </a:lnTo>
                <a:lnTo>
                  <a:pt x="16" y="1"/>
                </a:lnTo>
                <a:lnTo>
                  <a:pt x="16" y="0"/>
                </a:lnTo>
                <a:lnTo>
                  <a:pt x="18" y="0"/>
                </a:lnTo>
                <a:lnTo>
                  <a:pt x="18" y="1"/>
                </a:lnTo>
                <a:lnTo>
                  <a:pt x="18" y="3"/>
                </a:lnTo>
                <a:lnTo>
                  <a:pt x="18" y="5"/>
                </a:lnTo>
                <a:lnTo>
                  <a:pt x="16" y="6"/>
                </a:lnTo>
                <a:lnTo>
                  <a:pt x="16" y="6"/>
                </a:lnTo>
                <a:lnTo>
                  <a:pt x="16" y="8"/>
                </a:lnTo>
                <a:lnTo>
                  <a:pt x="16" y="8"/>
                </a:lnTo>
                <a:lnTo>
                  <a:pt x="15" y="8"/>
                </a:lnTo>
                <a:lnTo>
                  <a:pt x="13" y="8"/>
                </a:lnTo>
                <a:lnTo>
                  <a:pt x="11" y="8"/>
                </a:lnTo>
                <a:lnTo>
                  <a:pt x="8" y="8"/>
                </a:lnTo>
                <a:lnTo>
                  <a:pt x="7" y="8"/>
                </a:lnTo>
                <a:lnTo>
                  <a:pt x="7" y="8"/>
                </a:lnTo>
                <a:lnTo>
                  <a:pt x="7" y="8"/>
                </a:lnTo>
                <a:lnTo>
                  <a:pt x="5" y="8"/>
                </a:lnTo>
                <a:lnTo>
                  <a:pt x="2" y="8"/>
                </a:lnTo>
                <a:lnTo>
                  <a:pt x="0" y="8"/>
                </a:lnTo>
                <a:lnTo>
                  <a:pt x="0" y="8"/>
                </a:lnTo>
                <a:lnTo>
                  <a:pt x="0" y="8"/>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63" name="í$ľidè">
            <a:extLst>
              <a:ext uri="{FF2B5EF4-FFF2-40B4-BE49-F238E27FC236}">
                <a16:creationId xmlns:a16="http://schemas.microsoft.com/office/drawing/2014/main" id="{A2863DD4-57D9-4C0A-88E8-6A516607150F}"/>
              </a:ext>
            </a:extLst>
          </p:cNvPr>
          <p:cNvSpPr/>
          <p:nvPr/>
        </p:nvSpPr>
        <p:spPr bwMode="auto">
          <a:xfrm>
            <a:off x="11563441" y="6587510"/>
            <a:ext cx="31040" cy="22171"/>
          </a:xfrm>
          <a:custGeom>
            <a:avLst/>
            <a:gdLst>
              <a:gd name="T0" fmla="*/ 3 w 7"/>
              <a:gd name="T1" fmla="*/ 0 h 5"/>
              <a:gd name="T2" fmla="*/ 5 w 7"/>
              <a:gd name="T3" fmla="*/ 0 h 5"/>
              <a:gd name="T4" fmla="*/ 7 w 7"/>
              <a:gd name="T5" fmla="*/ 0 h 5"/>
              <a:gd name="T6" fmla="*/ 7 w 7"/>
              <a:gd name="T7" fmla="*/ 0 h 5"/>
              <a:gd name="T8" fmla="*/ 5 w 7"/>
              <a:gd name="T9" fmla="*/ 2 h 5"/>
              <a:gd name="T10" fmla="*/ 3 w 7"/>
              <a:gd name="T11" fmla="*/ 3 h 5"/>
              <a:gd name="T12" fmla="*/ 3 w 7"/>
              <a:gd name="T13" fmla="*/ 3 h 5"/>
              <a:gd name="T14" fmla="*/ 3 w 7"/>
              <a:gd name="T15" fmla="*/ 3 h 5"/>
              <a:gd name="T16" fmla="*/ 3 w 7"/>
              <a:gd name="T17" fmla="*/ 5 h 5"/>
              <a:gd name="T18" fmla="*/ 2 w 7"/>
              <a:gd name="T19" fmla="*/ 3 h 5"/>
              <a:gd name="T20" fmla="*/ 0 w 7"/>
              <a:gd name="T21" fmla="*/ 0 h 5"/>
              <a:gd name="T22" fmla="*/ 0 w 7"/>
              <a:gd name="T23" fmla="*/ 0 h 5"/>
              <a:gd name="T24" fmla="*/ 0 w 7"/>
              <a:gd name="T25" fmla="*/ 0 h 5"/>
              <a:gd name="T26" fmla="*/ 3 w 7"/>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3" y="0"/>
                </a:moveTo>
                <a:lnTo>
                  <a:pt x="5" y="0"/>
                </a:lnTo>
                <a:lnTo>
                  <a:pt x="7" y="0"/>
                </a:lnTo>
                <a:lnTo>
                  <a:pt x="7" y="0"/>
                </a:lnTo>
                <a:lnTo>
                  <a:pt x="5" y="2"/>
                </a:lnTo>
                <a:lnTo>
                  <a:pt x="3" y="3"/>
                </a:lnTo>
                <a:lnTo>
                  <a:pt x="3" y="3"/>
                </a:lnTo>
                <a:lnTo>
                  <a:pt x="3" y="3"/>
                </a:lnTo>
                <a:lnTo>
                  <a:pt x="3" y="5"/>
                </a:lnTo>
                <a:lnTo>
                  <a:pt x="2" y="3"/>
                </a:lnTo>
                <a:lnTo>
                  <a:pt x="0" y="0"/>
                </a:lnTo>
                <a:lnTo>
                  <a:pt x="0" y="0"/>
                </a:lnTo>
                <a:lnTo>
                  <a:pt x="0" y="0"/>
                </a:lnTo>
                <a:lnTo>
                  <a:pt x="3"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64" name="îṣḻíḑé">
            <a:extLst>
              <a:ext uri="{FF2B5EF4-FFF2-40B4-BE49-F238E27FC236}">
                <a16:creationId xmlns:a16="http://schemas.microsoft.com/office/drawing/2014/main" id="{066598E1-410E-4CDA-8B93-2B4FE99E5677}"/>
              </a:ext>
            </a:extLst>
          </p:cNvPr>
          <p:cNvSpPr/>
          <p:nvPr/>
        </p:nvSpPr>
        <p:spPr bwMode="auto">
          <a:xfrm>
            <a:off x="11616651" y="6587510"/>
            <a:ext cx="26605" cy="13303"/>
          </a:xfrm>
          <a:custGeom>
            <a:avLst/>
            <a:gdLst>
              <a:gd name="T0" fmla="*/ 0 w 6"/>
              <a:gd name="T1" fmla="*/ 0 h 3"/>
              <a:gd name="T2" fmla="*/ 3 w 6"/>
              <a:gd name="T3" fmla="*/ 0 h 3"/>
              <a:gd name="T4" fmla="*/ 6 w 6"/>
              <a:gd name="T5" fmla="*/ 0 h 3"/>
              <a:gd name="T6" fmla="*/ 6 w 6"/>
              <a:gd name="T7" fmla="*/ 0 h 3"/>
              <a:gd name="T8" fmla="*/ 6 w 6"/>
              <a:gd name="T9" fmla="*/ 0 h 3"/>
              <a:gd name="T10" fmla="*/ 6 w 6"/>
              <a:gd name="T11" fmla="*/ 2 h 3"/>
              <a:gd name="T12" fmla="*/ 3 w 6"/>
              <a:gd name="T13" fmla="*/ 3 h 3"/>
              <a:gd name="T14" fmla="*/ 3 w 6"/>
              <a:gd name="T15" fmla="*/ 3 h 3"/>
              <a:gd name="T16" fmla="*/ 3 w 6"/>
              <a:gd name="T17" fmla="*/ 3 h 3"/>
              <a:gd name="T18" fmla="*/ 0 w 6"/>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0" y="0"/>
                </a:moveTo>
                <a:lnTo>
                  <a:pt x="3" y="0"/>
                </a:lnTo>
                <a:lnTo>
                  <a:pt x="6" y="0"/>
                </a:lnTo>
                <a:lnTo>
                  <a:pt x="6" y="0"/>
                </a:lnTo>
                <a:lnTo>
                  <a:pt x="6" y="0"/>
                </a:lnTo>
                <a:lnTo>
                  <a:pt x="6" y="2"/>
                </a:lnTo>
                <a:lnTo>
                  <a:pt x="3" y="3"/>
                </a:lnTo>
                <a:lnTo>
                  <a:pt x="3" y="3"/>
                </a:lnTo>
                <a:lnTo>
                  <a:pt x="3" y="3"/>
                </a:lnTo>
                <a:lnTo>
                  <a:pt x="0"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65" name="î$ḻîḋê">
            <a:extLst>
              <a:ext uri="{FF2B5EF4-FFF2-40B4-BE49-F238E27FC236}">
                <a16:creationId xmlns:a16="http://schemas.microsoft.com/office/drawing/2014/main" id="{2E14EC2A-D2D3-4EDD-81CF-1BC6A8C71CB2}"/>
              </a:ext>
            </a:extLst>
          </p:cNvPr>
          <p:cNvSpPr/>
          <p:nvPr/>
        </p:nvSpPr>
        <p:spPr bwMode="auto">
          <a:xfrm>
            <a:off x="11674296" y="6587510"/>
            <a:ext cx="26605" cy="13303"/>
          </a:xfrm>
          <a:custGeom>
            <a:avLst/>
            <a:gdLst>
              <a:gd name="T0" fmla="*/ 0 w 6"/>
              <a:gd name="T1" fmla="*/ 0 h 3"/>
              <a:gd name="T2" fmla="*/ 1 w 6"/>
              <a:gd name="T3" fmla="*/ 0 h 3"/>
              <a:gd name="T4" fmla="*/ 4 w 6"/>
              <a:gd name="T5" fmla="*/ 0 h 3"/>
              <a:gd name="T6" fmla="*/ 6 w 6"/>
              <a:gd name="T7" fmla="*/ 0 h 3"/>
              <a:gd name="T8" fmla="*/ 6 w 6"/>
              <a:gd name="T9" fmla="*/ 0 h 3"/>
              <a:gd name="T10" fmla="*/ 6 w 6"/>
              <a:gd name="T11" fmla="*/ 0 h 3"/>
              <a:gd name="T12" fmla="*/ 4 w 6"/>
              <a:gd name="T13" fmla="*/ 0 h 3"/>
              <a:gd name="T14" fmla="*/ 4 w 6"/>
              <a:gd name="T15" fmla="*/ 2 h 3"/>
              <a:gd name="T16" fmla="*/ 3 w 6"/>
              <a:gd name="T17" fmla="*/ 3 h 3"/>
              <a:gd name="T18" fmla="*/ 3 w 6"/>
              <a:gd name="T19" fmla="*/ 3 h 3"/>
              <a:gd name="T20" fmla="*/ 1 w 6"/>
              <a:gd name="T21" fmla="*/ 3 h 3"/>
              <a:gd name="T22" fmla="*/ 0 w 6"/>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3">
                <a:moveTo>
                  <a:pt x="0" y="0"/>
                </a:moveTo>
                <a:lnTo>
                  <a:pt x="1" y="0"/>
                </a:lnTo>
                <a:lnTo>
                  <a:pt x="4" y="0"/>
                </a:lnTo>
                <a:lnTo>
                  <a:pt x="6" y="0"/>
                </a:lnTo>
                <a:lnTo>
                  <a:pt x="6" y="0"/>
                </a:lnTo>
                <a:lnTo>
                  <a:pt x="6" y="0"/>
                </a:lnTo>
                <a:lnTo>
                  <a:pt x="4" y="0"/>
                </a:lnTo>
                <a:lnTo>
                  <a:pt x="4" y="2"/>
                </a:lnTo>
                <a:lnTo>
                  <a:pt x="3" y="3"/>
                </a:lnTo>
                <a:lnTo>
                  <a:pt x="3" y="3"/>
                </a:lnTo>
                <a:lnTo>
                  <a:pt x="1" y="3"/>
                </a:lnTo>
                <a:lnTo>
                  <a:pt x="0"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66" name="ïŝliḍé">
            <a:extLst>
              <a:ext uri="{FF2B5EF4-FFF2-40B4-BE49-F238E27FC236}">
                <a16:creationId xmlns:a16="http://schemas.microsoft.com/office/drawing/2014/main" id="{FF5E2419-DE75-48BF-B44F-554104DEA311}"/>
              </a:ext>
            </a:extLst>
          </p:cNvPr>
          <p:cNvSpPr/>
          <p:nvPr/>
        </p:nvSpPr>
        <p:spPr bwMode="auto">
          <a:xfrm>
            <a:off x="11723073" y="6583076"/>
            <a:ext cx="26605" cy="17737"/>
          </a:xfrm>
          <a:custGeom>
            <a:avLst/>
            <a:gdLst>
              <a:gd name="T0" fmla="*/ 0 w 6"/>
              <a:gd name="T1" fmla="*/ 1 h 4"/>
              <a:gd name="T2" fmla="*/ 3 w 6"/>
              <a:gd name="T3" fmla="*/ 1 h 4"/>
              <a:gd name="T4" fmla="*/ 5 w 6"/>
              <a:gd name="T5" fmla="*/ 1 h 4"/>
              <a:gd name="T6" fmla="*/ 6 w 6"/>
              <a:gd name="T7" fmla="*/ 0 h 4"/>
              <a:gd name="T8" fmla="*/ 6 w 6"/>
              <a:gd name="T9" fmla="*/ 1 h 4"/>
              <a:gd name="T10" fmla="*/ 5 w 6"/>
              <a:gd name="T11" fmla="*/ 3 h 4"/>
              <a:gd name="T12" fmla="*/ 3 w 6"/>
              <a:gd name="T13" fmla="*/ 4 h 4"/>
              <a:gd name="T14" fmla="*/ 3 w 6"/>
              <a:gd name="T15" fmla="*/ 4 h 4"/>
              <a:gd name="T16" fmla="*/ 3 w 6"/>
              <a:gd name="T17" fmla="*/ 4 h 4"/>
              <a:gd name="T18" fmla="*/ 0 w 6"/>
              <a:gd name="T19"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0" y="1"/>
                </a:moveTo>
                <a:lnTo>
                  <a:pt x="3" y="1"/>
                </a:lnTo>
                <a:lnTo>
                  <a:pt x="5" y="1"/>
                </a:lnTo>
                <a:lnTo>
                  <a:pt x="6" y="0"/>
                </a:lnTo>
                <a:lnTo>
                  <a:pt x="6" y="1"/>
                </a:lnTo>
                <a:lnTo>
                  <a:pt x="5" y="3"/>
                </a:lnTo>
                <a:lnTo>
                  <a:pt x="3" y="4"/>
                </a:lnTo>
                <a:lnTo>
                  <a:pt x="3" y="4"/>
                </a:lnTo>
                <a:lnTo>
                  <a:pt x="3" y="4"/>
                </a:lnTo>
                <a:lnTo>
                  <a:pt x="0" y="1"/>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67" name="íŝḷîďé">
            <a:extLst>
              <a:ext uri="{FF2B5EF4-FFF2-40B4-BE49-F238E27FC236}">
                <a16:creationId xmlns:a16="http://schemas.microsoft.com/office/drawing/2014/main" id="{88474F5E-0F7D-427D-8CCA-0713B3E0CA5C}"/>
              </a:ext>
            </a:extLst>
          </p:cNvPr>
          <p:cNvSpPr/>
          <p:nvPr/>
        </p:nvSpPr>
        <p:spPr bwMode="auto">
          <a:xfrm>
            <a:off x="11780719" y="6583076"/>
            <a:ext cx="26605" cy="17737"/>
          </a:xfrm>
          <a:custGeom>
            <a:avLst/>
            <a:gdLst>
              <a:gd name="T0" fmla="*/ 0 w 6"/>
              <a:gd name="T1" fmla="*/ 0 h 4"/>
              <a:gd name="T2" fmla="*/ 0 w 6"/>
              <a:gd name="T3" fmla="*/ 0 h 4"/>
              <a:gd name="T4" fmla="*/ 2 w 6"/>
              <a:gd name="T5" fmla="*/ 0 h 4"/>
              <a:gd name="T6" fmla="*/ 5 w 6"/>
              <a:gd name="T7" fmla="*/ 0 h 4"/>
              <a:gd name="T8" fmla="*/ 6 w 6"/>
              <a:gd name="T9" fmla="*/ 0 h 4"/>
              <a:gd name="T10" fmla="*/ 5 w 6"/>
              <a:gd name="T11" fmla="*/ 1 h 4"/>
              <a:gd name="T12" fmla="*/ 5 w 6"/>
              <a:gd name="T13" fmla="*/ 3 h 4"/>
              <a:gd name="T14" fmla="*/ 3 w 6"/>
              <a:gd name="T15" fmla="*/ 3 h 4"/>
              <a:gd name="T16" fmla="*/ 3 w 6"/>
              <a:gd name="T17" fmla="*/ 4 h 4"/>
              <a:gd name="T18" fmla="*/ 3 w 6"/>
              <a:gd name="T19" fmla="*/ 4 h 4"/>
              <a:gd name="T20" fmla="*/ 2 w 6"/>
              <a:gd name="T21" fmla="*/ 4 h 4"/>
              <a:gd name="T22" fmla="*/ 0 w 6"/>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4">
                <a:moveTo>
                  <a:pt x="0" y="0"/>
                </a:moveTo>
                <a:lnTo>
                  <a:pt x="0" y="0"/>
                </a:lnTo>
                <a:lnTo>
                  <a:pt x="2" y="0"/>
                </a:lnTo>
                <a:lnTo>
                  <a:pt x="5" y="0"/>
                </a:lnTo>
                <a:lnTo>
                  <a:pt x="6" y="0"/>
                </a:lnTo>
                <a:lnTo>
                  <a:pt x="5" y="1"/>
                </a:lnTo>
                <a:lnTo>
                  <a:pt x="5" y="3"/>
                </a:lnTo>
                <a:lnTo>
                  <a:pt x="3" y="3"/>
                </a:lnTo>
                <a:lnTo>
                  <a:pt x="3" y="4"/>
                </a:lnTo>
                <a:lnTo>
                  <a:pt x="3" y="4"/>
                </a:lnTo>
                <a:lnTo>
                  <a:pt x="2" y="4"/>
                </a:lnTo>
                <a:lnTo>
                  <a:pt x="0"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68" name="ísliḓe">
            <a:extLst>
              <a:ext uri="{FF2B5EF4-FFF2-40B4-BE49-F238E27FC236}">
                <a16:creationId xmlns:a16="http://schemas.microsoft.com/office/drawing/2014/main" id="{43D3766C-AC62-4296-9F33-E1CCA50C1DEC}"/>
              </a:ext>
            </a:extLst>
          </p:cNvPr>
          <p:cNvSpPr/>
          <p:nvPr/>
        </p:nvSpPr>
        <p:spPr bwMode="auto">
          <a:xfrm>
            <a:off x="11519097" y="5993320"/>
            <a:ext cx="88686" cy="8868"/>
          </a:xfrm>
          <a:custGeom>
            <a:avLst/>
            <a:gdLst>
              <a:gd name="T0" fmla="*/ 17 w 20"/>
              <a:gd name="T1" fmla="*/ 2 h 2"/>
              <a:gd name="T2" fmla="*/ 15 w 20"/>
              <a:gd name="T3" fmla="*/ 2 h 2"/>
              <a:gd name="T4" fmla="*/ 13 w 20"/>
              <a:gd name="T5" fmla="*/ 2 h 2"/>
              <a:gd name="T6" fmla="*/ 13 w 20"/>
              <a:gd name="T7" fmla="*/ 2 h 2"/>
              <a:gd name="T8" fmla="*/ 10 w 20"/>
              <a:gd name="T9" fmla="*/ 2 h 2"/>
              <a:gd name="T10" fmla="*/ 7 w 20"/>
              <a:gd name="T11" fmla="*/ 2 h 2"/>
              <a:gd name="T12" fmla="*/ 2 w 20"/>
              <a:gd name="T13" fmla="*/ 2 h 2"/>
              <a:gd name="T14" fmla="*/ 0 w 20"/>
              <a:gd name="T15" fmla="*/ 2 h 2"/>
              <a:gd name="T16" fmla="*/ 0 w 20"/>
              <a:gd name="T17" fmla="*/ 2 h 2"/>
              <a:gd name="T18" fmla="*/ 2 w 20"/>
              <a:gd name="T19" fmla="*/ 2 h 2"/>
              <a:gd name="T20" fmla="*/ 7 w 20"/>
              <a:gd name="T21" fmla="*/ 2 h 2"/>
              <a:gd name="T22" fmla="*/ 10 w 20"/>
              <a:gd name="T23" fmla="*/ 2 h 2"/>
              <a:gd name="T24" fmla="*/ 13 w 20"/>
              <a:gd name="T25" fmla="*/ 0 h 2"/>
              <a:gd name="T26" fmla="*/ 13 w 20"/>
              <a:gd name="T27" fmla="*/ 0 h 2"/>
              <a:gd name="T28" fmla="*/ 15 w 20"/>
              <a:gd name="T29" fmla="*/ 0 h 2"/>
              <a:gd name="T30" fmla="*/ 17 w 20"/>
              <a:gd name="T31" fmla="*/ 0 h 2"/>
              <a:gd name="T32" fmla="*/ 20 w 20"/>
              <a:gd name="T33" fmla="*/ 0 h 2"/>
              <a:gd name="T34" fmla="*/ 20 w 20"/>
              <a:gd name="T35" fmla="*/ 2 h 2"/>
              <a:gd name="T36" fmla="*/ 17 w 20"/>
              <a:gd name="T3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2">
                <a:moveTo>
                  <a:pt x="17" y="2"/>
                </a:moveTo>
                <a:lnTo>
                  <a:pt x="15" y="2"/>
                </a:lnTo>
                <a:lnTo>
                  <a:pt x="13" y="2"/>
                </a:lnTo>
                <a:lnTo>
                  <a:pt x="13" y="2"/>
                </a:lnTo>
                <a:lnTo>
                  <a:pt x="10" y="2"/>
                </a:lnTo>
                <a:lnTo>
                  <a:pt x="7" y="2"/>
                </a:lnTo>
                <a:lnTo>
                  <a:pt x="2" y="2"/>
                </a:lnTo>
                <a:lnTo>
                  <a:pt x="0" y="2"/>
                </a:lnTo>
                <a:lnTo>
                  <a:pt x="0" y="2"/>
                </a:lnTo>
                <a:lnTo>
                  <a:pt x="2" y="2"/>
                </a:lnTo>
                <a:lnTo>
                  <a:pt x="7" y="2"/>
                </a:lnTo>
                <a:lnTo>
                  <a:pt x="10" y="2"/>
                </a:lnTo>
                <a:lnTo>
                  <a:pt x="13" y="0"/>
                </a:lnTo>
                <a:lnTo>
                  <a:pt x="13" y="0"/>
                </a:lnTo>
                <a:lnTo>
                  <a:pt x="15" y="0"/>
                </a:lnTo>
                <a:lnTo>
                  <a:pt x="17" y="0"/>
                </a:lnTo>
                <a:lnTo>
                  <a:pt x="20" y="0"/>
                </a:lnTo>
                <a:lnTo>
                  <a:pt x="20" y="2"/>
                </a:lnTo>
                <a:lnTo>
                  <a:pt x="17" y="2"/>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69" name="iśļïḑé">
            <a:extLst>
              <a:ext uri="{FF2B5EF4-FFF2-40B4-BE49-F238E27FC236}">
                <a16:creationId xmlns:a16="http://schemas.microsoft.com/office/drawing/2014/main" id="{6EAA055C-508E-4AFD-9202-4D21E3967C37}"/>
              </a:ext>
            </a:extLst>
          </p:cNvPr>
          <p:cNvSpPr/>
          <p:nvPr/>
        </p:nvSpPr>
        <p:spPr bwMode="auto">
          <a:xfrm>
            <a:off x="11634388" y="5993320"/>
            <a:ext cx="79816" cy="0"/>
          </a:xfrm>
          <a:custGeom>
            <a:avLst/>
            <a:gdLst>
              <a:gd name="T0" fmla="*/ 0 w 18"/>
              <a:gd name="T1" fmla="*/ 2 w 18"/>
              <a:gd name="T2" fmla="*/ 15 w 18"/>
              <a:gd name="T3" fmla="*/ 18 w 18"/>
              <a:gd name="T4" fmla="*/ 18 w 18"/>
              <a:gd name="T5" fmla="*/ 15 w 18"/>
              <a:gd name="T6" fmla="*/ 4 w 18"/>
              <a:gd name="T7" fmla="*/ 0 w 18"/>
              <a:gd name="T8" fmla="*/ 0 w 18"/>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18">
                <a:moveTo>
                  <a:pt x="0" y="0"/>
                </a:moveTo>
                <a:lnTo>
                  <a:pt x="2" y="0"/>
                </a:lnTo>
                <a:lnTo>
                  <a:pt x="15" y="0"/>
                </a:lnTo>
                <a:lnTo>
                  <a:pt x="18" y="0"/>
                </a:lnTo>
                <a:lnTo>
                  <a:pt x="18" y="0"/>
                </a:lnTo>
                <a:lnTo>
                  <a:pt x="15" y="0"/>
                </a:lnTo>
                <a:lnTo>
                  <a:pt x="4" y="0"/>
                </a:lnTo>
                <a:lnTo>
                  <a:pt x="0" y="0"/>
                </a:lnTo>
                <a:lnTo>
                  <a:pt x="0"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70" name="îṣḷíḑè">
            <a:extLst>
              <a:ext uri="{FF2B5EF4-FFF2-40B4-BE49-F238E27FC236}">
                <a16:creationId xmlns:a16="http://schemas.microsoft.com/office/drawing/2014/main" id="{839023DF-CC16-4197-9639-9C5AAF0FCA8B}"/>
              </a:ext>
            </a:extLst>
          </p:cNvPr>
          <p:cNvSpPr/>
          <p:nvPr/>
        </p:nvSpPr>
        <p:spPr bwMode="auto">
          <a:xfrm>
            <a:off x="11745245" y="5993320"/>
            <a:ext cx="84250" cy="0"/>
          </a:xfrm>
          <a:custGeom>
            <a:avLst/>
            <a:gdLst>
              <a:gd name="T0" fmla="*/ 19 w 19"/>
              <a:gd name="T1" fmla="*/ 10 w 19"/>
              <a:gd name="T2" fmla="*/ 5 w 19"/>
              <a:gd name="T3" fmla="*/ 0 w 19"/>
              <a:gd name="T4" fmla="*/ 0 w 19"/>
              <a:gd name="T5" fmla="*/ 5 w 19"/>
              <a:gd name="T6" fmla="*/ 10 w 19"/>
              <a:gd name="T7" fmla="*/ 19 w 19"/>
              <a:gd name="T8" fmla="*/ 19 w 19"/>
              <a:gd name="T9" fmla="*/ 19 w 19"/>
              <a:gd name="T10" fmla="*/ 19 w 19"/>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19">
                <a:moveTo>
                  <a:pt x="19" y="0"/>
                </a:moveTo>
                <a:lnTo>
                  <a:pt x="10" y="0"/>
                </a:lnTo>
                <a:lnTo>
                  <a:pt x="5" y="0"/>
                </a:lnTo>
                <a:lnTo>
                  <a:pt x="0" y="0"/>
                </a:lnTo>
                <a:lnTo>
                  <a:pt x="0" y="0"/>
                </a:lnTo>
                <a:lnTo>
                  <a:pt x="5" y="0"/>
                </a:lnTo>
                <a:lnTo>
                  <a:pt x="10" y="0"/>
                </a:lnTo>
                <a:lnTo>
                  <a:pt x="19" y="0"/>
                </a:lnTo>
                <a:lnTo>
                  <a:pt x="19" y="0"/>
                </a:lnTo>
                <a:lnTo>
                  <a:pt x="19" y="0"/>
                </a:lnTo>
                <a:lnTo>
                  <a:pt x="1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71" name="ïṣlide">
            <a:extLst>
              <a:ext uri="{FF2B5EF4-FFF2-40B4-BE49-F238E27FC236}">
                <a16:creationId xmlns:a16="http://schemas.microsoft.com/office/drawing/2014/main" id="{1503502F-858E-4E35-916C-7AA40C1E6EE3}"/>
              </a:ext>
            </a:extLst>
          </p:cNvPr>
          <p:cNvSpPr/>
          <p:nvPr/>
        </p:nvSpPr>
        <p:spPr bwMode="auto">
          <a:xfrm>
            <a:off x="11616651" y="6175124"/>
            <a:ext cx="128594" cy="35474"/>
          </a:xfrm>
          <a:custGeom>
            <a:avLst/>
            <a:gdLst>
              <a:gd name="T0" fmla="*/ 0 w 18"/>
              <a:gd name="T1" fmla="*/ 0 h 5"/>
              <a:gd name="T2" fmla="*/ 1 w 18"/>
              <a:gd name="T3" fmla="*/ 0 h 5"/>
              <a:gd name="T4" fmla="*/ 3 w 18"/>
              <a:gd name="T5" fmla="*/ 0 h 5"/>
              <a:gd name="T6" fmla="*/ 7 w 18"/>
              <a:gd name="T7" fmla="*/ 0 h 5"/>
              <a:gd name="T8" fmla="*/ 8 w 18"/>
              <a:gd name="T9" fmla="*/ 0 h 5"/>
              <a:gd name="T10" fmla="*/ 10 w 18"/>
              <a:gd name="T11" fmla="*/ 0 h 5"/>
              <a:gd name="T12" fmla="*/ 12 w 18"/>
              <a:gd name="T13" fmla="*/ 0 h 5"/>
              <a:gd name="T14" fmla="*/ 14 w 18"/>
              <a:gd name="T15" fmla="*/ 0 h 5"/>
              <a:gd name="T16" fmla="*/ 17 w 18"/>
              <a:gd name="T17" fmla="*/ 0 h 5"/>
              <a:gd name="T18" fmla="*/ 18 w 18"/>
              <a:gd name="T19" fmla="*/ 0 h 5"/>
              <a:gd name="T20" fmla="*/ 18 w 18"/>
              <a:gd name="T21" fmla="*/ 1 h 5"/>
              <a:gd name="T22" fmla="*/ 18 w 18"/>
              <a:gd name="T23" fmla="*/ 4 h 5"/>
              <a:gd name="T24" fmla="*/ 18 w 18"/>
              <a:gd name="T25" fmla="*/ 4 h 5"/>
              <a:gd name="T26" fmla="*/ 17 w 18"/>
              <a:gd name="T27" fmla="*/ 4 h 5"/>
              <a:gd name="T28" fmla="*/ 14 w 18"/>
              <a:gd name="T29" fmla="*/ 5 h 5"/>
              <a:gd name="T30" fmla="*/ 12 w 18"/>
              <a:gd name="T31" fmla="*/ 5 h 5"/>
              <a:gd name="T32" fmla="*/ 11 w 18"/>
              <a:gd name="T33" fmla="*/ 5 h 5"/>
              <a:gd name="T34" fmla="*/ 8 w 18"/>
              <a:gd name="T35" fmla="*/ 5 h 5"/>
              <a:gd name="T36" fmla="*/ 5 w 18"/>
              <a:gd name="T37" fmla="*/ 5 h 5"/>
              <a:gd name="T38" fmla="*/ 2 w 18"/>
              <a:gd name="T39" fmla="*/ 5 h 5"/>
              <a:gd name="T40" fmla="*/ 1 w 18"/>
              <a:gd name="T41" fmla="*/ 5 h 5"/>
              <a:gd name="T42" fmla="*/ 0 w 18"/>
              <a:gd name="T43" fmla="*/ 5 h 5"/>
              <a:gd name="T44" fmla="*/ 0 w 18"/>
              <a:gd name="T45" fmla="*/ 5 h 5"/>
              <a:gd name="T46" fmla="*/ 0 w 18"/>
              <a:gd name="T47" fmla="*/ 4 h 5"/>
              <a:gd name="T48" fmla="*/ 0 w 18"/>
              <a:gd name="T49" fmla="*/ 4 h 5"/>
              <a:gd name="T50" fmla="*/ 0 w 18"/>
              <a:gd name="T51" fmla="*/ 3 h 5"/>
              <a:gd name="T52" fmla="*/ 0 w 18"/>
              <a:gd name="T5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 h="5">
                <a:moveTo>
                  <a:pt x="0" y="0"/>
                </a:moveTo>
                <a:cubicBezTo>
                  <a:pt x="1" y="0"/>
                  <a:pt x="1" y="0"/>
                  <a:pt x="1" y="0"/>
                </a:cubicBezTo>
                <a:cubicBezTo>
                  <a:pt x="3" y="0"/>
                  <a:pt x="3" y="0"/>
                  <a:pt x="3" y="0"/>
                </a:cubicBezTo>
                <a:cubicBezTo>
                  <a:pt x="7" y="0"/>
                  <a:pt x="7" y="0"/>
                  <a:pt x="7" y="0"/>
                </a:cubicBezTo>
                <a:cubicBezTo>
                  <a:pt x="8" y="0"/>
                  <a:pt x="8" y="0"/>
                  <a:pt x="8" y="0"/>
                </a:cubicBezTo>
                <a:cubicBezTo>
                  <a:pt x="10" y="0"/>
                  <a:pt x="10" y="0"/>
                  <a:pt x="10" y="0"/>
                </a:cubicBezTo>
                <a:cubicBezTo>
                  <a:pt x="12" y="0"/>
                  <a:pt x="12" y="0"/>
                  <a:pt x="12" y="0"/>
                </a:cubicBezTo>
                <a:cubicBezTo>
                  <a:pt x="14" y="0"/>
                  <a:pt x="14" y="0"/>
                  <a:pt x="14" y="0"/>
                </a:cubicBezTo>
                <a:cubicBezTo>
                  <a:pt x="17" y="0"/>
                  <a:pt x="17" y="0"/>
                  <a:pt x="17" y="0"/>
                </a:cubicBezTo>
                <a:cubicBezTo>
                  <a:pt x="18" y="0"/>
                  <a:pt x="18" y="0"/>
                  <a:pt x="18" y="0"/>
                </a:cubicBezTo>
                <a:cubicBezTo>
                  <a:pt x="18" y="1"/>
                  <a:pt x="18" y="1"/>
                  <a:pt x="18" y="1"/>
                </a:cubicBezTo>
                <a:cubicBezTo>
                  <a:pt x="18" y="2"/>
                  <a:pt x="18" y="3"/>
                  <a:pt x="18" y="4"/>
                </a:cubicBezTo>
                <a:cubicBezTo>
                  <a:pt x="18" y="4"/>
                  <a:pt x="18" y="4"/>
                  <a:pt x="18" y="4"/>
                </a:cubicBezTo>
                <a:cubicBezTo>
                  <a:pt x="17" y="4"/>
                  <a:pt x="17" y="4"/>
                  <a:pt x="17" y="4"/>
                </a:cubicBezTo>
                <a:cubicBezTo>
                  <a:pt x="14" y="5"/>
                  <a:pt x="14" y="5"/>
                  <a:pt x="14" y="5"/>
                </a:cubicBezTo>
                <a:cubicBezTo>
                  <a:pt x="12" y="5"/>
                  <a:pt x="12" y="5"/>
                  <a:pt x="12" y="5"/>
                </a:cubicBezTo>
                <a:cubicBezTo>
                  <a:pt x="11" y="5"/>
                  <a:pt x="11" y="5"/>
                  <a:pt x="11" y="5"/>
                </a:cubicBezTo>
                <a:cubicBezTo>
                  <a:pt x="8" y="5"/>
                  <a:pt x="8" y="5"/>
                  <a:pt x="8" y="5"/>
                </a:cubicBezTo>
                <a:cubicBezTo>
                  <a:pt x="5" y="5"/>
                  <a:pt x="5" y="5"/>
                  <a:pt x="5" y="5"/>
                </a:cubicBezTo>
                <a:cubicBezTo>
                  <a:pt x="2" y="5"/>
                  <a:pt x="2" y="5"/>
                  <a:pt x="2" y="5"/>
                </a:cubicBezTo>
                <a:cubicBezTo>
                  <a:pt x="1" y="5"/>
                  <a:pt x="1" y="5"/>
                  <a:pt x="1" y="5"/>
                </a:cubicBezTo>
                <a:cubicBezTo>
                  <a:pt x="0" y="5"/>
                  <a:pt x="0" y="5"/>
                  <a:pt x="0" y="5"/>
                </a:cubicBezTo>
                <a:cubicBezTo>
                  <a:pt x="0" y="5"/>
                  <a:pt x="0" y="5"/>
                  <a:pt x="0" y="5"/>
                </a:cubicBezTo>
                <a:cubicBezTo>
                  <a:pt x="0" y="4"/>
                  <a:pt x="0" y="4"/>
                  <a:pt x="0" y="4"/>
                </a:cubicBezTo>
                <a:cubicBezTo>
                  <a:pt x="0" y="4"/>
                  <a:pt x="0" y="4"/>
                  <a:pt x="0" y="4"/>
                </a:cubicBezTo>
                <a:cubicBezTo>
                  <a:pt x="0" y="3"/>
                  <a:pt x="0" y="3"/>
                  <a:pt x="0" y="3"/>
                </a:cubicBezTo>
                <a:cubicBezTo>
                  <a:pt x="0" y="2"/>
                  <a:pt x="0" y="1"/>
                  <a:pt x="0" y="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72" name="ïśḻïďè">
            <a:extLst>
              <a:ext uri="{FF2B5EF4-FFF2-40B4-BE49-F238E27FC236}">
                <a16:creationId xmlns:a16="http://schemas.microsoft.com/office/drawing/2014/main" id="{3DB7227A-F333-43F3-980C-2FB655C61C8E}"/>
              </a:ext>
            </a:extLst>
          </p:cNvPr>
          <p:cNvSpPr/>
          <p:nvPr/>
        </p:nvSpPr>
        <p:spPr bwMode="auto">
          <a:xfrm>
            <a:off x="11780719" y="6223901"/>
            <a:ext cx="115291" cy="44342"/>
          </a:xfrm>
          <a:custGeom>
            <a:avLst/>
            <a:gdLst>
              <a:gd name="T0" fmla="*/ 26 w 26"/>
              <a:gd name="T1" fmla="*/ 10 h 10"/>
              <a:gd name="T2" fmla="*/ 26 w 26"/>
              <a:gd name="T3" fmla="*/ 10 h 10"/>
              <a:gd name="T4" fmla="*/ 26 w 26"/>
              <a:gd name="T5" fmla="*/ 10 h 10"/>
              <a:gd name="T6" fmla="*/ 23 w 26"/>
              <a:gd name="T7" fmla="*/ 10 h 10"/>
              <a:gd name="T8" fmla="*/ 21 w 26"/>
              <a:gd name="T9" fmla="*/ 10 h 10"/>
              <a:gd name="T10" fmla="*/ 19 w 26"/>
              <a:gd name="T11" fmla="*/ 10 h 10"/>
              <a:gd name="T12" fmla="*/ 19 w 26"/>
              <a:gd name="T13" fmla="*/ 10 h 10"/>
              <a:gd name="T14" fmla="*/ 18 w 26"/>
              <a:gd name="T15" fmla="*/ 10 h 10"/>
              <a:gd name="T16" fmla="*/ 13 w 26"/>
              <a:gd name="T17" fmla="*/ 10 h 10"/>
              <a:gd name="T18" fmla="*/ 8 w 26"/>
              <a:gd name="T19" fmla="*/ 10 h 10"/>
              <a:gd name="T20" fmla="*/ 5 w 26"/>
              <a:gd name="T21" fmla="*/ 10 h 10"/>
              <a:gd name="T22" fmla="*/ 2 w 26"/>
              <a:gd name="T23" fmla="*/ 10 h 10"/>
              <a:gd name="T24" fmla="*/ 0 w 26"/>
              <a:gd name="T25" fmla="*/ 10 h 10"/>
              <a:gd name="T26" fmla="*/ 0 w 26"/>
              <a:gd name="T27" fmla="*/ 10 h 10"/>
              <a:gd name="T28" fmla="*/ 2 w 26"/>
              <a:gd name="T29" fmla="*/ 9 h 10"/>
              <a:gd name="T30" fmla="*/ 5 w 26"/>
              <a:gd name="T31" fmla="*/ 7 h 10"/>
              <a:gd name="T32" fmla="*/ 6 w 26"/>
              <a:gd name="T33" fmla="*/ 5 h 10"/>
              <a:gd name="T34" fmla="*/ 10 w 26"/>
              <a:gd name="T35" fmla="*/ 2 h 10"/>
              <a:gd name="T36" fmla="*/ 10 w 26"/>
              <a:gd name="T37" fmla="*/ 2 h 10"/>
              <a:gd name="T38" fmla="*/ 11 w 26"/>
              <a:gd name="T39" fmla="*/ 2 h 10"/>
              <a:gd name="T40" fmla="*/ 11 w 26"/>
              <a:gd name="T41" fmla="*/ 0 h 10"/>
              <a:gd name="T42" fmla="*/ 11 w 26"/>
              <a:gd name="T43" fmla="*/ 0 h 10"/>
              <a:gd name="T44" fmla="*/ 16 w 26"/>
              <a:gd name="T45" fmla="*/ 4 h 10"/>
              <a:gd name="T46" fmla="*/ 26 w 26"/>
              <a:gd name="T4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10">
                <a:moveTo>
                  <a:pt x="26" y="10"/>
                </a:moveTo>
                <a:lnTo>
                  <a:pt x="26" y="10"/>
                </a:lnTo>
                <a:lnTo>
                  <a:pt x="26" y="10"/>
                </a:lnTo>
                <a:lnTo>
                  <a:pt x="23" y="10"/>
                </a:lnTo>
                <a:lnTo>
                  <a:pt x="21" y="10"/>
                </a:lnTo>
                <a:lnTo>
                  <a:pt x="19" y="10"/>
                </a:lnTo>
                <a:lnTo>
                  <a:pt x="19" y="10"/>
                </a:lnTo>
                <a:lnTo>
                  <a:pt x="18" y="10"/>
                </a:lnTo>
                <a:lnTo>
                  <a:pt x="13" y="10"/>
                </a:lnTo>
                <a:lnTo>
                  <a:pt x="8" y="10"/>
                </a:lnTo>
                <a:lnTo>
                  <a:pt x="5" y="10"/>
                </a:lnTo>
                <a:lnTo>
                  <a:pt x="2" y="10"/>
                </a:lnTo>
                <a:lnTo>
                  <a:pt x="0" y="10"/>
                </a:lnTo>
                <a:lnTo>
                  <a:pt x="0" y="10"/>
                </a:lnTo>
                <a:lnTo>
                  <a:pt x="2" y="9"/>
                </a:lnTo>
                <a:lnTo>
                  <a:pt x="5" y="7"/>
                </a:lnTo>
                <a:lnTo>
                  <a:pt x="6" y="5"/>
                </a:lnTo>
                <a:lnTo>
                  <a:pt x="10" y="2"/>
                </a:lnTo>
                <a:lnTo>
                  <a:pt x="10" y="2"/>
                </a:lnTo>
                <a:lnTo>
                  <a:pt x="11" y="2"/>
                </a:lnTo>
                <a:lnTo>
                  <a:pt x="11" y="0"/>
                </a:lnTo>
                <a:lnTo>
                  <a:pt x="11" y="0"/>
                </a:lnTo>
                <a:lnTo>
                  <a:pt x="16" y="4"/>
                </a:lnTo>
                <a:lnTo>
                  <a:pt x="26" y="1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73" name="îSḷíďé">
            <a:extLst>
              <a:ext uri="{FF2B5EF4-FFF2-40B4-BE49-F238E27FC236}">
                <a16:creationId xmlns:a16="http://schemas.microsoft.com/office/drawing/2014/main" id="{78F654FA-B578-4B6F-9133-257A1EF03050}"/>
              </a:ext>
            </a:extLst>
          </p:cNvPr>
          <p:cNvSpPr/>
          <p:nvPr/>
        </p:nvSpPr>
        <p:spPr bwMode="auto">
          <a:xfrm>
            <a:off x="11829496" y="6463351"/>
            <a:ext cx="159633" cy="53211"/>
          </a:xfrm>
          <a:custGeom>
            <a:avLst/>
            <a:gdLst>
              <a:gd name="T0" fmla="*/ 36 w 36"/>
              <a:gd name="T1" fmla="*/ 10 h 12"/>
              <a:gd name="T2" fmla="*/ 36 w 36"/>
              <a:gd name="T3" fmla="*/ 10 h 12"/>
              <a:gd name="T4" fmla="*/ 36 w 36"/>
              <a:gd name="T5" fmla="*/ 10 h 12"/>
              <a:gd name="T6" fmla="*/ 33 w 36"/>
              <a:gd name="T7" fmla="*/ 10 h 12"/>
              <a:gd name="T8" fmla="*/ 28 w 36"/>
              <a:gd name="T9" fmla="*/ 10 h 12"/>
              <a:gd name="T10" fmla="*/ 26 w 36"/>
              <a:gd name="T11" fmla="*/ 12 h 12"/>
              <a:gd name="T12" fmla="*/ 25 w 36"/>
              <a:gd name="T13" fmla="*/ 12 h 12"/>
              <a:gd name="T14" fmla="*/ 23 w 36"/>
              <a:gd name="T15" fmla="*/ 12 h 12"/>
              <a:gd name="T16" fmla="*/ 20 w 36"/>
              <a:gd name="T17" fmla="*/ 12 h 12"/>
              <a:gd name="T18" fmla="*/ 17 w 36"/>
              <a:gd name="T19" fmla="*/ 12 h 12"/>
              <a:gd name="T20" fmla="*/ 13 w 36"/>
              <a:gd name="T21" fmla="*/ 12 h 12"/>
              <a:gd name="T22" fmla="*/ 10 w 36"/>
              <a:gd name="T23" fmla="*/ 12 h 12"/>
              <a:gd name="T24" fmla="*/ 7 w 36"/>
              <a:gd name="T25" fmla="*/ 12 h 12"/>
              <a:gd name="T26" fmla="*/ 4 w 36"/>
              <a:gd name="T27" fmla="*/ 12 h 12"/>
              <a:gd name="T28" fmla="*/ 0 w 36"/>
              <a:gd name="T29" fmla="*/ 12 h 12"/>
              <a:gd name="T30" fmla="*/ 0 w 36"/>
              <a:gd name="T31" fmla="*/ 12 h 12"/>
              <a:gd name="T32" fmla="*/ 0 w 36"/>
              <a:gd name="T33" fmla="*/ 12 h 12"/>
              <a:gd name="T34" fmla="*/ 2 w 36"/>
              <a:gd name="T35" fmla="*/ 10 h 12"/>
              <a:gd name="T36" fmla="*/ 4 w 36"/>
              <a:gd name="T37" fmla="*/ 9 h 12"/>
              <a:gd name="T38" fmla="*/ 5 w 36"/>
              <a:gd name="T39" fmla="*/ 7 h 12"/>
              <a:gd name="T40" fmla="*/ 7 w 36"/>
              <a:gd name="T41" fmla="*/ 5 h 12"/>
              <a:gd name="T42" fmla="*/ 10 w 36"/>
              <a:gd name="T43" fmla="*/ 4 h 12"/>
              <a:gd name="T44" fmla="*/ 10 w 36"/>
              <a:gd name="T45" fmla="*/ 4 h 12"/>
              <a:gd name="T46" fmla="*/ 13 w 36"/>
              <a:gd name="T47" fmla="*/ 2 h 12"/>
              <a:gd name="T48" fmla="*/ 13 w 36"/>
              <a:gd name="T49" fmla="*/ 0 h 12"/>
              <a:gd name="T50" fmla="*/ 15 w 36"/>
              <a:gd name="T51" fmla="*/ 0 h 12"/>
              <a:gd name="T52" fmla="*/ 15 w 36"/>
              <a:gd name="T53" fmla="*/ 0 h 12"/>
              <a:gd name="T54" fmla="*/ 18 w 36"/>
              <a:gd name="T55" fmla="*/ 2 h 12"/>
              <a:gd name="T56" fmla="*/ 30 w 36"/>
              <a:gd name="T57" fmla="*/ 7 h 12"/>
              <a:gd name="T58" fmla="*/ 36 w 36"/>
              <a:gd name="T59"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12">
                <a:moveTo>
                  <a:pt x="36" y="10"/>
                </a:moveTo>
                <a:lnTo>
                  <a:pt x="36" y="10"/>
                </a:lnTo>
                <a:lnTo>
                  <a:pt x="36" y="10"/>
                </a:lnTo>
                <a:lnTo>
                  <a:pt x="33" y="10"/>
                </a:lnTo>
                <a:lnTo>
                  <a:pt x="28" y="10"/>
                </a:lnTo>
                <a:lnTo>
                  <a:pt x="26" y="12"/>
                </a:lnTo>
                <a:lnTo>
                  <a:pt x="25" y="12"/>
                </a:lnTo>
                <a:lnTo>
                  <a:pt x="23" y="12"/>
                </a:lnTo>
                <a:lnTo>
                  <a:pt x="20" y="12"/>
                </a:lnTo>
                <a:lnTo>
                  <a:pt x="17" y="12"/>
                </a:lnTo>
                <a:lnTo>
                  <a:pt x="13" y="12"/>
                </a:lnTo>
                <a:lnTo>
                  <a:pt x="10" y="12"/>
                </a:lnTo>
                <a:lnTo>
                  <a:pt x="7" y="12"/>
                </a:lnTo>
                <a:lnTo>
                  <a:pt x="4" y="12"/>
                </a:lnTo>
                <a:lnTo>
                  <a:pt x="0" y="12"/>
                </a:lnTo>
                <a:lnTo>
                  <a:pt x="0" y="12"/>
                </a:lnTo>
                <a:lnTo>
                  <a:pt x="0" y="12"/>
                </a:lnTo>
                <a:lnTo>
                  <a:pt x="2" y="10"/>
                </a:lnTo>
                <a:lnTo>
                  <a:pt x="4" y="9"/>
                </a:lnTo>
                <a:lnTo>
                  <a:pt x="5" y="7"/>
                </a:lnTo>
                <a:lnTo>
                  <a:pt x="7" y="5"/>
                </a:lnTo>
                <a:lnTo>
                  <a:pt x="10" y="4"/>
                </a:lnTo>
                <a:lnTo>
                  <a:pt x="10" y="4"/>
                </a:lnTo>
                <a:lnTo>
                  <a:pt x="13" y="2"/>
                </a:lnTo>
                <a:lnTo>
                  <a:pt x="13" y="0"/>
                </a:lnTo>
                <a:lnTo>
                  <a:pt x="15" y="0"/>
                </a:lnTo>
                <a:lnTo>
                  <a:pt x="15" y="0"/>
                </a:lnTo>
                <a:lnTo>
                  <a:pt x="18" y="2"/>
                </a:lnTo>
                <a:lnTo>
                  <a:pt x="30" y="7"/>
                </a:lnTo>
                <a:lnTo>
                  <a:pt x="36" y="1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74" name="íṩľîḍê">
            <a:extLst>
              <a:ext uri="{FF2B5EF4-FFF2-40B4-BE49-F238E27FC236}">
                <a16:creationId xmlns:a16="http://schemas.microsoft.com/office/drawing/2014/main" id="{896AD5AB-E039-46EC-909F-4C29763758D2}"/>
              </a:ext>
            </a:extLst>
          </p:cNvPr>
          <p:cNvSpPr/>
          <p:nvPr/>
        </p:nvSpPr>
        <p:spPr bwMode="auto">
          <a:xfrm>
            <a:off x="11838364" y="6520996"/>
            <a:ext cx="164068" cy="44342"/>
          </a:xfrm>
          <a:custGeom>
            <a:avLst/>
            <a:gdLst>
              <a:gd name="T0" fmla="*/ 36 w 37"/>
              <a:gd name="T1" fmla="*/ 2 h 10"/>
              <a:gd name="T2" fmla="*/ 32 w 37"/>
              <a:gd name="T3" fmla="*/ 4 h 10"/>
              <a:gd name="T4" fmla="*/ 31 w 37"/>
              <a:gd name="T5" fmla="*/ 5 h 10"/>
              <a:gd name="T6" fmla="*/ 31 w 37"/>
              <a:gd name="T7" fmla="*/ 5 h 10"/>
              <a:gd name="T8" fmla="*/ 29 w 37"/>
              <a:gd name="T9" fmla="*/ 5 h 10"/>
              <a:gd name="T10" fmla="*/ 28 w 37"/>
              <a:gd name="T11" fmla="*/ 7 h 10"/>
              <a:gd name="T12" fmla="*/ 26 w 37"/>
              <a:gd name="T13" fmla="*/ 9 h 10"/>
              <a:gd name="T14" fmla="*/ 24 w 37"/>
              <a:gd name="T15" fmla="*/ 10 h 10"/>
              <a:gd name="T16" fmla="*/ 24 w 37"/>
              <a:gd name="T17" fmla="*/ 10 h 10"/>
              <a:gd name="T18" fmla="*/ 21 w 37"/>
              <a:gd name="T19" fmla="*/ 10 h 10"/>
              <a:gd name="T20" fmla="*/ 19 w 37"/>
              <a:gd name="T21" fmla="*/ 10 h 10"/>
              <a:gd name="T22" fmla="*/ 16 w 37"/>
              <a:gd name="T23" fmla="*/ 9 h 10"/>
              <a:gd name="T24" fmla="*/ 10 w 37"/>
              <a:gd name="T25" fmla="*/ 5 h 10"/>
              <a:gd name="T26" fmla="*/ 3 w 37"/>
              <a:gd name="T27" fmla="*/ 2 h 10"/>
              <a:gd name="T28" fmla="*/ 0 w 37"/>
              <a:gd name="T29" fmla="*/ 2 h 10"/>
              <a:gd name="T30" fmla="*/ 0 w 37"/>
              <a:gd name="T31" fmla="*/ 2 h 10"/>
              <a:gd name="T32" fmla="*/ 0 w 37"/>
              <a:gd name="T33" fmla="*/ 2 h 10"/>
              <a:gd name="T34" fmla="*/ 2 w 37"/>
              <a:gd name="T35" fmla="*/ 2 h 10"/>
              <a:gd name="T36" fmla="*/ 5 w 37"/>
              <a:gd name="T37" fmla="*/ 2 h 10"/>
              <a:gd name="T38" fmla="*/ 8 w 37"/>
              <a:gd name="T39" fmla="*/ 2 h 10"/>
              <a:gd name="T40" fmla="*/ 11 w 37"/>
              <a:gd name="T41" fmla="*/ 2 h 10"/>
              <a:gd name="T42" fmla="*/ 15 w 37"/>
              <a:gd name="T43" fmla="*/ 0 h 10"/>
              <a:gd name="T44" fmla="*/ 18 w 37"/>
              <a:gd name="T45" fmla="*/ 0 h 10"/>
              <a:gd name="T46" fmla="*/ 21 w 37"/>
              <a:gd name="T47" fmla="*/ 0 h 10"/>
              <a:gd name="T48" fmla="*/ 24 w 37"/>
              <a:gd name="T49" fmla="*/ 0 h 10"/>
              <a:gd name="T50" fmla="*/ 26 w 37"/>
              <a:gd name="T51" fmla="*/ 0 h 10"/>
              <a:gd name="T52" fmla="*/ 28 w 37"/>
              <a:gd name="T53" fmla="*/ 0 h 10"/>
              <a:gd name="T54" fmla="*/ 29 w 37"/>
              <a:gd name="T55" fmla="*/ 0 h 10"/>
              <a:gd name="T56" fmla="*/ 34 w 37"/>
              <a:gd name="T57" fmla="*/ 0 h 10"/>
              <a:gd name="T58" fmla="*/ 37 w 37"/>
              <a:gd name="T59" fmla="*/ 0 h 10"/>
              <a:gd name="T60" fmla="*/ 36 w 37"/>
              <a:gd name="T6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10">
                <a:moveTo>
                  <a:pt x="36" y="2"/>
                </a:moveTo>
                <a:lnTo>
                  <a:pt x="32" y="4"/>
                </a:lnTo>
                <a:lnTo>
                  <a:pt x="31" y="5"/>
                </a:lnTo>
                <a:lnTo>
                  <a:pt x="31" y="5"/>
                </a:lnTo>
                <a:lnTo>
                  <a:pt x="29" y="5"/>
                </a:lnTo>
                <a:lnTo>
                  <a:pt x="28" y="7"/>
                </a:lnTo>
                <a:lnTo>
                  <a:pt x="26" y="9"/>
                </a:lnTo>
                <a:lnTo>
                  <a:pt x="24" y="10"/>
                </a:lnTo>
                <a:lnTo>
                  <a:pt x="24" y="10"/>
                </a:lnTo>
                <a:lnTo>
                  <a:pt x="21" y="10"/>
                </a:lnTo>
                <a:lnTo>
                  <a:pt x="19" y="10"/>
                </a:lnTo>
                <a:lnTo>
                  <a:pt x="16" y="9"/>
                </a:lnTo>
                <a:lnTo>
                  <a:pt x="10" y="5"/>
                </a:lnTo>
                <a:lnTo>
                  <a:pt x="3" y="2"/>
                </a:lnTo>
                <a:lnTo>
                  <a:pt x="0" y="2"/>
                </a:lnTo>
                <a:lnTo>
                  <a:pt x="0" y="2"/>
                </a:lnTo>
                <a:lnTo>
                  <a:pt x="0" y="2"/>
                </a:lnTo>
                <a:lnTo>
                  <a:pt x="2" y="2"/>
                </a:lnTo>
                <a:lnTo>
                  <a:pt x="5" y="2"/>
                </a:lnTo>
                <a:lnTo>
                  <a:pt x="8" y="2"/>
                </a:lnTo>
                <a:lnTo>
                  <a:pt x="11" y="2"/>
                </a:lnTo>
                <a:lnTo>
                  <a:pt x="15" y="0"/>
                </a:lnTo>
                <a:lnTo>
                  <a:pt x="18" y="0"/>
                </a:lnTo>
                <a:lnTo>
                  <a:pt x="21" y="0"/>
                </a:lnTo>
                <a:lnTo>
                  <a:pt x="24" y="0"/>
                </a:lnTo>
                <a:lnTo>
                  <a:pt x="26" y="0"/>
                </a:lnTo>
                <a:lnTo>
                  <a:pt x="28" y="0"/>
                </a:lnTo>
                <a:lnTo>
                  <a:pt x="29" y="0"/>
                </a:lnTo>
                <a:lnTo>
                  <a:pt x="34" y="0"/>
                </a:lnTo>
                <a:lnTo>
                  <a:pt x="37" y="0"/>
                </a:lnTo>
                <a:lnTo>
                  <a:pt x="36" y="2"/>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75" name="íš1îḍé">
            <a:extLst>
              <a:ext uri="{FF2B5EF4-FFF2-40B4-BE49-F238E27FC236}">
                <a16:creationId xmlns:a16="http://schemas.microsoft.com/office/drawing/2014/main" id="{4F2CC2F6-F05B-4D64-94FB-4759AE5BA7FD}"/>
              </a:ext>
            </a:extLst>
          </p:cNvPr>
          <p:cNvSpPr/>
          <p:nvPr/>
        </p:nvSpPr>
        <p:spPr bwMode="auto">
          <a:xfrm>
            <a:off x="11997997" y="6583076"/>
            <a:ext cx="22171" cy="17737"/>
          </a:xfrm>
          <a:custGeom>
            <a:avLst/>
            <a:gdLst>
              <a:gd name="T0" fmla="*/ 0 w 5"/>
              <a:gd name="T1" fmla="*/ 0 h 4"/>
              <a:gd name="T2" fmla="*/ 1 w 5"/>
              <a:gd name="T3" fmla="*/ 0 h 4"/>
              <a:gd name="T4" fmla="*/ 3 w 5"/>
              <a:gd name="T5" fmla="*/ 0 h 4"/>
              <a:gd name="T6" fmla="*/ 5 w 5"/>
              <a:gd name="T7" fmla="*/ 0 h 4"/>
              <a:gd name="T8" fmla="*/ 5 w 5"/>
              <a:gd name="T9" fmla="*/ 0 h 4"/>
              <a:gd name="T10" fmla="*/ 5 w 5"/>
              <a:gd name="T11" fmla="*/ 0 h 4"/>
              <a:gd name="T12" fmla="*/ 5 w 5"/>
              <a:gd name="T13" fmla="*/ 1 h 4"/>
              <a:gd name="T14" fmla="*/ 3 w 5"/>
              <a:gd name="T15" fmla="*/ 1 h 4"/>
              <a:gd name="T16" fmla="*/ 3 w 5"/>
              <a:gd name="T17" fmla="*/ 4 h 4"/>
              <a:gd name="T18" fmla="*/ 3 w 5"/>
              <a:gd name="T19" fmla="*/ 4 h 4"/>
              <a:gd name="T20" fmla="*/ 1 w 5"/>
              <a:gd name="T21" fmla="*/ 3 h 4"/>
              <a:gd name="T22" fmla="*/ 0 w 5"/>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4">
                <a:moveTo>
                  <a:pt x="0" y="0"/>
                </a:moveTo>
                <a:lnTo>
                  <a:pt x="1" y="0"/>
                </a:lnTo>
                <a:lnTo>
                  <a:pt x="3" y="0"/>
                </a:lnTo>
                <a:lnTo>
                  <a:pt x="5" y="0"/>
                </a:lnTo>
                <a:lnTo>
                  <a:pt x="5" y="0"/>
                </a:lnTo>
                <a:lnTo>
                  <a:pt x="5" y="0"/>
                </a:lnTo>
                <a:lnTo>
                  <a:pt x="5" y="1"/>
                </a:lnTo>
                <a:lnTo>
                  <a:pt x="3" y="1"/>
                </a:lnTo>
                <a:lnTo>
                  <a:pt x="3" y="4"/>
                </a:lnTo>
                <a:lnTo>
                  <a:pt x="3" y="4"/>
                </a:lnTo>
                <a:lnTo>
                  <a:pt x="1" y="3"/>
                </a:lnTo>
                <a:lnTo>
                  <a:pt x="0"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76" name="ïşlíḓè">
            <a:extLst>
              <a:ext uri="{FF2B5EF4-FFF2-40B4-BE49-F238E27FC236}">
                <a16:creationId xmlns:a16="http://schemas.microsoft.com/office/drawing/2014/main" id="{05F9080C-6A9E-4E74-8263-21AEFB5A089E}"/>
              </a:ext>
            </a:extLst>
          </p:cNvPr>
          <p:cNvSpPr/>
          <p:nvPr/>
        </p:nvSpPr>
        <p:spPr bwMode="auto">
          <a:xfrm>
            <a:off x="12046774" y="6640722"/>
            <a:ext cx="13303" cy="4434"/>
          </a:xfrm>
          <a:custGeom>
            <a:avLst/>
            <a:gdLst>
              <a:gd name="T0" fmla="*/ 2 w 3"/>
              <a:gd name="T1" fmla="*/ 1 h 1"/>
              <a:gd name="T2" fmla="*/ 0 w 3"/>
              <a:gd name="T3" fmla="*/ 1 h 1"/>
              <a:gd name="T4" fmla="*/ 2 w 3"/>
              <a:gd name="T5" fmla="*/ 0 h 1"/>
              <a:gd name="T6" fmla="*/ 2 w 3"/>
              <a:gd name="T7" fmla="*/ 0 h 1"/>
              <a:gd name="T8" fmla="*/ 3 w 3"/>
              <a:gd name="T9" fmla="*/ 1 h 1"/>
              <a:gd name="T10" fmla="*/ 2 w 3"/>
              <a:gd name="T11" fmla="*/ 1 h 1"/>
            </a:gdLst>
            <a:ahLst/>
            <a:cxnLst>
              <a:cxn ang="0">
                <a:pos x="T0" y="T1"/>
              </a:cxn>
              <a:cxn ang="0">
                <a:pos x="T2" y="T3"/>
              </a:cxn>
              <a:cxn ang="0">
                <a:pos x="T4" y="T5"/>
              </a:cxn>
              <a:cxn ang="0">
                <a:pos x="T6" y="T7"/>
              </a:cxn>
              <a:cxn ang="0">
                <a:pos x="T8" y="T9"/>
              </a:cxn>
              <a:cxn ang="0">
                <a:pos x="T10" y="T11"/>
              </a:cxn>
            </a:cxnLst>
            <a:rect l="0" t="0" r="r" b="b"/>
            <a:pathLst>
              <a:path w="3" h="1">
                <a:moveTo>
                  <a:pt x="2" y="1"/>
                </a:moveTo>
                <a:lnTo>
                  <a:pt x="0" y="1"/>
                </a:lnTo>
                <a:lnTo>
                  <a:pt x="2" y="0"/>
                </a:lnTo>
                <a:lnTo>
                  <a:pt x="2" y="0"/>
                </a:lnTo>
                <a:lnTo>
                  <a:pt x="3" y="1"/>
                </a:lnTo>
                <a:lnTo>
                  <a:pt x="2" y="1"/>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77" name="ísḻiḋè">
            <a:extLst>
              <a:ext uri="{FF2B5EF4-FFF2-40B4-BE49-F238E27FC236}">
                <a16:creationId xmlns:a16="http://schemas.microsoft.com/office/drawing/2014/main" id="{5DDFBF42-9898-4839-8E38-0DEEE3D725B5}"/>
              </a:ext>
            </a:extLst>
          </p:cNvPr>
          <p:cNvSpPr/>
          <p:nvPr/>
        </p:nvSpPr>
        <p:spPr bwMode="auto">
          <a:xfrm>
            <a:off x="12024603" y="6631853"/>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78" name="í$ľiḍè">
            <a:extLst>
              <a:ext uri="{FF2B5EF4-FFF2-40B4-BE49-F238E27FC236}">
                <a16:creationId xmlns:a16="http://schemas.microsoft.com/office/drawing/2014/main" id="{8C999AA4-B3BC-4AFA-9EA8-5EC61D45938A}"/>
              </a:ext>
            </a:extLst>
          </p:cNvPr>
          <p:cNvSpPr/>
          <p:nvPr/>
        </p:nvSpPr>
        <p:spPr bwMode="auto">
          <a:xfrm>
            <a:off x="12020169" y="6676195"/>
            <a:ext cx="13303" cy="26605"/>
          </a:xfrm>
          <a:custGeom>
            <a:avLst/>
            <a:gdLst>
              <a:gd name="T0" fmla="*/ 3 w 3"/>
              <a:gd name="T1" fmla="*/ 6 h 6"/>
              <a:gd name="T2" fmla="*/ 3 w 3"/>
              <a:gd name="T3" fmla="*/ 6 h 6"/>
              <a:gd name="T4" fmla="*/ 1 w 3"/>
              <a:gd name="T5" fmla="*/ 6 h 6"/>
              <a:gd name="T6" fmla="*/ 0 w 3"/>
              <a:gd name="T7" fmla="*/ 3 h 6"/>
              <a:gd name="T8" fmla="*/ 0 w 3"/>
              <a:gd name="T9" fmla="*/ 3 h 6"/>
              <a:gd name="T10" fmla="*/ 1 w 3"/>
              <a:gd name="T11" fmla="*/ 1 h 6"/>
              <a:gd name="T12" fmla="*/ 1 w 3"/>
              <a:gd name="T13" fmla="*/ 0 h 6"/>
              <a:gd name="T14" fmla="*/ 3 w 3"/>
              <a:gd name="T15" fmla="*/ 1 h 6"/>
              <a:gd name="T16" fmla="*/ 3 w 3"/>
              <a:gd name="T17" fmla="*/ 5 h 6"/>
              <a:gd name="T18" fmla="*/ 3 w 3"/>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3" y="6"/>
                </a:moveTo>
                <a:lnTo>
                  <a:pt x="3" y="6"/>
                </a:lnTo>
                <a:lnTo>
                  <a:pt x="1" y="6"/>
                </a:lnTo>
                <a:lnTo>
                  <a:pt x="0" y="3"/>
                </a:lnTo>
                <a:lnTo>
                  <a:pt x="0" y="3"/>
                </a:lnTo>
                <a:lnTo>
                  <a:pt x="1" y="1"/>
                </a:lnTo>
                <a:lnTo>
                  <a:pt x="1" y="0"/>
                </a:lnTo>
                <a:lnTo>
                  <a:pt x="3" y="1"/>
                </a:lnTo>
                <a:lnTo>
                  <a:pt x="3" y="5"/>
                </a:lnTo>
                <a:lnTo>
                  <a:pt x="3" y="6"/>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79" name="ïṡḷíde">
            <a:extLst>
              <a:ext uri="{FF2B5EF4-FFF2-40B4-BE49-F238E27FC236}">
                <a16:creationId xmlns:a16="http://schemas.microsoft.com/office/drawing/2014/main" id="{A5026417-7391-4DB6-B3CF-C0535EA2FF1A}"/>
              </a:ext>
            </a:extLst>
          </p:cNvPr>
          <p:cNvSpPr/>
          <p:nvPr/>
        </p:nvSpPr>
        <p:spPr bwMode="auto">
          <a:xfrm>
            <a:off x="11355030" y="6760446"/>
            <a:ext cx="13303" cy="31040"/>
          </a:xfrm>
          <a:custGeom>
            <a:avLst/>
            <a:gdLst>
              <a:gd name="T0" fmla="*/ 0 w 3"/>
              <a:gd name="T1" fmla="*/ 4 h 7"/>
              <a:gd name="T2" fmla="*/ 2 w 3"/>
              <a:gd name="T3" fmla="*/ 2 h 7"/>
              <a:gd name="T4" fmla="*/ 3 w 3"/>
              <a:gd name="T5" fmla="*/ 0 h 7"/>
              <a:gd name="T6" fmla="*/ 3 w 3"/>
              <a:gd name="T7" fmla="*/ 0 h 7"/>
              <a:gd name="T8" fmla="*/ 3 w 3"/>
              <a:gd name="T9" fmla="*/ 0 h 7"/>
              <a:gd name="T10" fmla="*/ 3 w 3"/>
              <a:gd name="T11" fmla="*/ 2 h 7"/>
              <a:gd name="T12" fmla="*/ 2 w 3"/>
              <a:gd name="T13" fmla="*/ 5 h 7"/>
              <a:gd name="T14" fmla="*/ 0 w 3"/>
              <a:gd name="T15" fmla="*/ 7 h 7"/>
              <a:gd name="T16" fmla="*/ 0 w 3"/>
              <a:gd name="T17" fmla="*/ 5 h 7"/>
              <a:gd name="T18" fmla="*/ 0 w 3"/>
              <a:gd name="T19"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0" y="4"/>
                </a:moveTo>
                <a:lnTo>
                  <a:pt x="2" y="2"/>
                </a:lnTo>
                <a:lnTo>
                  <a:pt x="3" y="0"/>
                </a:lnTo>
                <a:lnTo>
                  <a:pt x="3" y="0"/>
                </a:lnTo>
                <a:lnTo>
                  <a:pt x="3" y="0"/>
                </a:lnTo>
                <a:lnTo>
                  <a:pt x="3" y="2"/>
                </a:lnTo>
                <a:lnTo>
                  <a:pt x="2" y="5"/>
                </a:lnTo>
                <a:lnTo>
                  <a:pt x="0" y="7"/>
                </a:lnTo>
                <a:lnTo>
                  <a:pt x="0" y="5"/>
                </a:lnTo>
                <a:lnTo>
                  <a:pt x="0" y="4"/>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80" name="ïs1iďe">
            <a:extLst>
              <a:ext uri="{FF2B5EF4-FFF2-40B4-BE49-F238E27FC236}">
                <a16:creationId xmlns:a16="http://schemas.microsoft.com/office/drawing/2014/main" id="{C3311F37-4E3A-4A7E-BE51-620B3B2799DC}"/>
              </a:ext>
            </a:extLst>
          </p:cNvPr>
          <p:cNvSpPr/>
          <p:nvPr/>
        </p:nvSpPr>
        <p:spPr bwMode="auto">
          <a:xfrm>
            <a:off x="11479189" y="6680630"/>
            <a:ext cx="13303" cy="31040"/>
          </a:xfrm>
          <a:custGeom>
            <a:avLst/>
            <a:gdLst>
              <a:gd name="T0" fmla="*/ 0 w 3"/>
              <a:gd name="T1" fmla="*/ 4 h 7"/>
              <a:gd name="T2" fmla="*/ 1 w 3"/>
              <a:gd name="T3" fmla="*/ 4 h 7"/>
              <a:gd name="T4" fmla="*/ 1 w 3"/>
              <a:gd name="T5" fmla="*/ 2 h 7"/>
              <a:gd name="T6" fmla="*/ 3 w 3"/>
              <a:gd name="T7" fmla="*/ 0 h 7"/>
              <a:gd name="T8" fmla="*/ 3 w 3"/>
              <a:gd name="T9" fmla="*/ 0 h 7"/>
              <a:gd name="T10" fmla="*/ 3 w 3"/>
              <a:gd name="T11" fmla="*/ 0 h 7"/>
              <a:gd name="T12" fmla="*/ 3 w 3"/>
              <a:gd name="T13" fmla="*/ 0 h 7"/>
              <a:gd name="T14" fmla="*/ 3 w 3"/>
              <a:gd name="T15" fmla="*/ 2 h 7"/>
              <a:gd name="T16" fmla="*/ 3 w 3"/>
              <a:gd name="T17" fmla="*/ 4 h 7"/>
              <a:gd name="T18" fmla="*/ 3 w 3"/>
              <a:gd name="T19" fmla="*/ 5 h 7"/>
              <a:gd name="T20" fmla="*/ 3 w 3"/>
              <a:gd name="T21" fmla="*/ 7 h 7"/>
              <a:gd name="T22" fmla="*/ 3 w 3"/>
              <a:gd name="T23" fmla="*/ 7 h 7"/>
              <a:gd name="T24" fmla="*/ 0 w 3"/>
              <a:gd name="T25"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7">
                <a:moveTo>
                  <a:pt x="0" y="4"/>
                </a:moveTo>
                <a:lnTo>
                  <a:pt x="1" y="4"/>
                </a:lnTo>
                <a:lnTo>
                  <a:pt x="1" y="2"/>
                </a:lnTo>
                <a:lnTo>
                  <a:pt x="3" y="0"/>
                </a:lnTo>
                <a:lnTo>
                  <a:pt x="3" y="0"/>
                </a:lnTo>
                <a:lnTo>
                  <a:pt x="3" y="0"/>
                </a:lnTo>
                <a:lnTo>
                  <a:pt x="3" y="0"/>
                </a:lnTo>
                <a:lnTo>
                  <a:pt x="3" y="2"/>
                </a:lnTo>
                <a:lnTo>
                  <a:pt x="3" y="4"/>
                </a:lnTo>
                <a:lnTo>
                  <a:pt x="3" y="5"/>
                </a:lnTo>
                <a:lnTo>
                  <a:pt x="3" y="7"/>
                </a:lnTo>
                <a:lnTo>
                  <a:pt x="3" y="7"/>
                </a:lnTo>
                <a:lnTo>
                  <a:pt x="0" y="4"/>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81" name="iśḻidê">
            <a:extLst>
              <a:ext uri="{FF2B5EF4-FFF2-40B4-BE49-F238E27FC236}">
                <a16:creationId xmlns:a16="http://schemas.microsoft.com/office/drawing/2014/main" id="{66DED074-4505-459E-BD1F-28198B588675}"/>
              </a:ext>
            </a:extLst>
          </p:cNvPr>
          <p:cNvSpPr/>
          <p:nvPr/>
        </p:nvSpPr>
        <p:spPr bwMode="auto">
          <a:xfrm>
            <a:off x="11505795" y="6600812"/>
            <a:ext cx="8868" cy="31040"/>
          </a:xfrm>
          <a:custGeom>
            <a:avLst/>
            <a:gdLst>
              <a:gd name="T0" fmla="*/ 0 w 2"/>
              <a:gd name="T1" fmla="*/ 4 h 7"/>
              <a:gd name="T2" fmla="*/ 0 w 2"/>
              <a:gd name="T3" fmla="*/ 2 h 7"/>
              <a:gd name="T4" fmla="*/ 0 w 2"/>
              <a:gd name="T5" fmla="*/ 0 h 7"/>
              <a:gd name="T6" fmla="*/ 0 w 2"/>
              <a:gd name="T7" fmla="*/ 0 h 7"/>
              <a:gd name="T8" fmla="*/ 0 w 2"/>
              <a:gd name="T9" fmla="*/ 0 h 7"/>
              <a:gd name="T10" fmla="*/ 2 w 2"/>
              <a:gd name="T11" fmla="*/ 4 h 7"/>
              <a:gd name="T12" fmla="*/ 2 w 2"/>
              <a:gd name="T13" fmla="*/ 5 h 7"/>
              <a:gd name="T14" fmla="*/ 2 w 2"/>
              <a:gd name="T15" fmla="*/ 5 h 7"/>
              <a:gd name="T16" fmla="*/ 0 w 2"/>
              <a:gd name="T17" fmla="*/ 7 h 7"/>
              <a:gd name="T18" fmla="*/ 0 w 2"/>
              <a:gd name="T19" fmla="*/ 7 h 7"/>
              <a:gd name="T20" fmla="*/ 0 w 2"/>
              <a:gd name="T21" fmla="*/ 7 h 7"/>
              <a:gd name="T22" fmla="*/ 0 w 2"/>
              <a:gd name="T23" fmla="*/ 5 h 7"/>
              <a:gd name="T24" fmla="*/ 0 w 2"/>
              <a:gd name="T25"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7">
                <a:moveTo>
                  <a:pt x="0" y="4"/>
                </a:moveTo>
                <a:lnTo>
                  <a:pt x="0" y="2"/>
                </a:lnTo>
                <a:lnTo>
                  <a:pt x="0" y="0"/>
                </a:lnTo>
                <a:lnTo>
                  <a:pt x="0" y="0"/>
                </a:lnTo>
                <a:lnTo>
                  <a:pt x="0" y="0"/>
                </a:lnTo>
                <a:lnTo>
                  <a:pt x="2" y="4"/>
                </a:lnTo>
                <a:lnTo>
                  <a:pt x="2" y="5"/>
                </a:lnTo>
                <a:lnTo>
                  <a:pt x="2" y="5"/>
                </a:lnTo>
                <a:lnTo>
                  <a:pt x="0" y="7"/>
                </a:lnTo>
                <a:lnTo>
                  <a:pt x="0" y="7"/>
                </a:lnTo>
                <a:lnTo>
                  <a:pt x="0" y="7"/>
                </a:lnTo>
                <a:lnTo>
                  <a:pt x="0" y="5"/>
                </a:lnTo>
                <a:lnTo>
                  <a:pt x="0" y="4"/>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82" name="íslíďê">
            <a:extLst>
              <a:ext uri="{FF2B5EF4-FFF2-40B4-BE49-F238E27FC236}">
                <a16:creationId xmlns:a16="http://schemas.microsoft.com/office/drawing/2014/main" id="{89331C08-952F-4239-BCB4-318205CAAD8F}"/>
              </a:ext>
            </a:extLst>
          </p:cNvPr>
          <p:cNvSpPr/>
          <p:nvPr/>
        </p:nvSpPr>
        <p:spPr bwMode="auto">
          <a:xfrm>
            <a:off x="11505795" y="6587510"/>
            <a:ext cx="31040" cy="22171"/>
          </a:xfrm>
          <a:custGeom>
            <a:avLst/>
            <a:gdLst>
              <a:gd name="T0" fmla="*/ 0 w 7"/>
              <a:gd name="T1" fmla="*/ 0 h 5"/>
              <a:gd name="T2" fmla="*/ 3 w 7"/>
              <a:gd name="T3" fmla="*/ 0 h 5"/>
              <a:gd name="T4" fmla="*/ 7 w 7"/>
              <a:gd name="T5" fmla="*/ 0 h 5"/>
              <a:gd name="T6" fmla="*/ 7 w 7"/>
              <a:gd name="T7" fmla="*/ 0 h 5"/>
              <a:gd name="T8" fmla="*/ 7 w 7"/>
              <a:gd name="T9" fmla="*/ 0 h 5"/>
              <a:gd name="T10" fmla="*/ 7 w 7"/>
              <a:gd name="T11" fmla="*/ 2 h 5"/>
              <a:gd name="T12" fmla="*/ 5 w 7"/>
              <a:gd name="T13" fmla="*/ 3 h 5"/>
              <a:gd name="T14" fmla="*/ 3 w 7"/>
              <a:gd name="T15" fmla="*/ 5 h 5"/>
              <a:gd name="T16" fmla="*/ 2 w 7"/>
              <a:gd name="T17" fmla="*/ 2 h 5"/>
              <a:gd name="T18" fmla="*/ 0 w 7"/>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0" y="0"/>
                </a:moveTo>
                <a:lnTo>
                  <a:pt x="3" y="0"/>
                </a:lnTo>
                <a:lnTo>
                  <a:pt x="7" y="0"/>
                </a:lnTo>
                <a:lnTo>
                  <a:pt x="7" y="0"/>
                </a:lnTo>
                <a:lnTo>
                  <a:pt x="7" y="0"/>
                </a:lnTo>
                <a:lnTo>
                  <a:pt x="7" y="2"/>
                </a:lnTo>
                <a:lnTo>
                  <a:pt x="5" y="3"/>
                </a:lnTo>
                <a:lnTo>
                  <a:pt x="3" y="5"/>
                </a:lnTo>
                <a:lnTo>
                  <a:pt x="2" y="2"/>
                </a:lnTo>
                <a:lnTo>
                  <a:pt x="0"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83" name="î$1iḍe">
            <a:extLst>
              <a:ext uri="{FF2B5EF4-FFF2-40B4-BE49-F238E27FC236}">
                <a16:creationId xmlns:a16="http://schemas.microsoft.com/office/drawing/2014/main" id="{8CAE0BC5-051C-46E4-A852-78EEBB70FC54}"/>
              </a:ext>
            </a:extLst>
          </p:cNvPr>
          <p:cNvSpPr/>
          <p:nvPr/>
        </p:nvSpPr>
        <p:spPr bwMode="auto">
          <a:xfrm>
            <a:off x="11585612" y="6600812"/>
            <a:ext cx="13303" cy="39908"/>
          </a:xfrm>
          <a:custGeom>
            <a:avLst/>
            <a:gdLst>
              <a:gd name="T0" fmla="*/ 0 w 3"/>
              <a:gd name="T1" fmla="*/ 4 h 9"/>
              <a:gd name="T2" fmla="*/ 0 w 3"/>
              <a:gd name="T3" fmla="*/ 4 h 9"/>
              <a:gd name="T4" fmla="*/ 2 w 3"/>
              <a:gd name="T5" fmla="*/ 2 h 9"/>
              <a:gd name="T6" fmla="*/ 2 w 3"/>
              <a:gd name="T7" fmla="*/ 2 h 9"/>
              <a:gd name="T8" fmla="*/ 2 w 3"/>
              <a:gd name="T9" fmla="*/ 0 h 9"/>
              <a:gd name="T10" fmla="*/ 3 w 3"/>
              <a:gd name="T11" fmla="*/ 0 h 9"/>
              <a:gd name="T12" fmla="*/ 3 w 3"/>
              <a:gd name="T13" fmla="*/ 0 h 9"/>
              <a:gd name="T14" fmla="*/ 3 w 3"/>
              <a:gd name="T15" fmla="*/ 4 h 9"/>
              <a:gd name="T16" fmla="*/ 3 w 3"/>
              <a:gd name="T17" fmla="*/ 4 h 9"/>
              <a:gd name="T18" fmla="*/ 3 w 3"/>
              <a:gd name="T19" fmla="*/ 5 h 9"/>
              <a:gd name="T20" fmla="*/ 3 w 3"/>
              <a:gd name="T21" fmla="*/ 7 h 9"/>
              <a:gd name="T22" fmla="*/ 3 w 3"/>
              <a:gd name="T23" fmla="*/ 9 h 9"/>
              <a:gd name="T24" fmla="*/ 2 w 3"/>
              <a:gd name="T25" fmla="*/ 5 h 9"/>
              <a:gd name="T26" fmla="*/ 0 w 3"/>
              <a:gd name="T2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9">
                <a:moveTo>
                  <a:pt x="0" y="4"/>
                </a:moveTo>
                <a:lnTo>
                  <a:pt x="0" y="4"/>
                </a:lnTo>
                <a:lnTo>
                  <a:pt x="2" y="2"/>
                </a:lnTo>
                <a:lnTo>
                  <a:pt x="2" y="2"/>
                </a:lnTo>
                <a:lnTo>
                  <a:pt x="2" y="0"/>
                </a:lnTo>
                <a:lnTo>
                  <a:pt x="3" y="0"/>
                </a:lnTo>
                <a:lnTo>
                  <a:pt x="3" y="0"/>
                </a:lnTo>
                <a:lnTo>
                  <a:pt x="3" y="4"/>
                </a:lnTo>
                <a:lnTo>
                  <a:pt x="3" y="4"/>
                </a:lnTo>
                <a:lnTo>
                  <a:pt x="3" y="5"/>
                </a:lnTo>
                <a:lnTo>
                  <a:pt x="3" y="7"/>
                </a:lnTo>
                <a:lnTo>
                  <a:pt x="3" y="9"/>
                </a:lnTo>
                <a:lnTo>
                  <a:pt x="2" y="5"/>
                </a:lnTo>
                <a:lnTo>
                  <a:pt x="0" y="4"/>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84" name="îsļîḑe">
            <a:extLst>
              <a:ext uri="{FF2B5EF4-FFF2-40B4-BE49-F238E27FC236}">
                <a16:creationId xmlns:a16="http://schemas.microsoft.com/office/drawing/2014/main" id="{2EB2BF1B-4547-4D7F-9CA2-397CAF996DA1}"/>
              </a:ext>
            </a:extLst>
          </p:cNvPr>
          <p:cNvSpPr/>
          <p:nvPr/>
        </p:nvSpPr>
        <p:spPr bwMode="auto">
          <a:xfrm>
            <a:off x="11616651" y="6600812"/>
            <a:ext cx="4434" cy="39908"/>
          </a:xfrm>
          <a:custGeom>
            <a:avLst/>
            <a:gdLst>
              <a:gd name="T0" fmla="*/ 0 w 1"/>
              <a:gd name="T1" fmla="*/ 0 h 9"/>
              <a:gd name="T2" fmla="*/ 1 w 1"/>
              <a:gd name="T3" fmla="*/ 4 h 9"/>
              <a:gd name="T4" fmla="*/ 1 w 1"/>
              <a:gd name="T5" fmla="*/ 4 h 9"/>
              <a:gd name="T6" fmla="*/ 1 w 1"/>
              <a:gd name="T7" fmla="*/ 5 h 9"/>
              <a:gd name="T8" fmla="*/ 0 w 1"/>
              <a:gd name="T9" fmla="*/ 7 h 9"/>
              <a:gd name="T10" fmla="*/ 0 w 1"/>
              <a:gd name="T11" fmla="*/ 7 h 9"/>
              <a:gd name="T12" fmla="*/ 0 w 1"/>
              <a:gd name="T13" fmla="*/ 9 h 9"/>
              <a:gd name="T14" fmla="*/ 0 w 1"/>
              <a:gd name="T15" fmla="*/ 7 h 9"/>
              <a:gd name="T16" fmla="*/ 0 w 1"/>
              <a:gd name="T17" fmla="*/ 7 h 9"/>
              <a:gd name="T18" fmla="*/ 0 w 1"/>
              <a:gd name="T19" fmla="*/ 4 h 9"/>
              <a:gd name="T20" fmla="*/ 0 w 1"/>
              <a:gd name="T21" fmla="*/ 2 h 9"/>
              <a:gd name="T22" fmla="*/ 0 w 1"/>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9">
                <a:moveTo>
                  <a:pt x="0" y="0"/>
                </a:moveTo>
                <a:lnTo>
                  <a:pt x="1" y="4"/>
                </a:lnTo>
                <a:lnTo>
                  <a:pt x="1" y="4"/>
                </a:lnTo>
                <a:lnTo>
                  <a:pt x="1" y="5"/>
                </a:lnTo>
                <a:lnTo>
                  <a:pt x="0" y="7"/>
                </a:lnTo>
                <a:lnTo>
                  <a:pt x="0" y="7"/>
                </a:lnTo>
                <a:lnTo>
                  <a:pt x="0" y="9"/>
                </a:lnTo>
                <a:lnTo>
                  <a:pt x="0" y="7"/>
                </a:lnTo>
                <a:lnTo>
                  <a:pt x="0" y="7"/>
                </a:lnTo>
                <a:lnTo>
                  <a:pt x="0" y="4"/>
                </a:lnTo>
                <a:lnTo>
                  <a:pt x="0" y="2"/>
                </a:lnTo>
                <a:lnTo>
                  <a:pt x="0"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85" name="ïṥḻiḑé">
            <a:extLst>
              <a:ext uri="{FF2B5EF4-FFF2-40B4-BE49-F238E27FC236}">
                <a16:creationId xmlns:a16="http://schemas.microsoft.com/office/drawing/2014/main" id="{44B53833-A36A-40F1-8C0B-C069953B091C}"/>
              </a:ext>
            </a:extLst>
          </p:cNvPr>
          <p:cNvSpPr/>
          <p:nvPr/>
        </p:nvSpPr>
        <p:spPr bwMode="auto">
          <a:xfrm>
            <a:off x="11692033" y="6676195"/>
            <a:ext cx="17737" cy="35474"/>
          </a:xfrm>
          <a:custGeom>
            <a:avLst/>
            <a:gdLst>
              <a:gd name="T0" fmla="*/ 0 w 4"/>
              <a:gd name="T1" fmla="*/ 5 h 8"/>
              <a:gd name="T2" fmla="*/ 0 w 4"/>
              <a:gd name="T3" fmla="*/ 3 h 8"/>
              <a:gd name="T4" fmla="*/ 2 w 4"/>
              <a:gd name="T5" fmla="*/ 1 h 8"/>
              <a:gd name="T6" fmla="*/ 4 w 4"/>
              <a:gd name="T7" fmla="*/ 1 h 8"/>
              <a:gd name="T8" fmla="*/ 4 w 4"/>
              <a:gd name="T9" fmla="*/ 0 h 8"/>
              <a:gd name="T10" fmla="*/ 4 w 4"/>
              <a:gd name="T11" fmla="*/ 1 h 8"/>
              <a:gd name="T12" fmla="*/ 4 w 4"/>
              <a:gd name="T13" fmla="*/ 3 h 8"/>
              <a:gd name="T14" fmla="*/ 4 w 4"/>
              <a:gd name="T15" fmla="*/ 5 h 8"/>
              <a:gd name="T16" fmla="*/ 4 w 4"/>
              <a:gd name="T17" fmla="*/ 6 h 8"/>
              <a:gd name="T18" fmla="*/ 4 w 4"/>
              <a:gd name="T19" fmla="*/ 8 h 8"/>
              <a:gd name="T20" fmla="*/ 2 w 4"/>
              <a:gd name="T21" fmla="*/ 5 h 8"/>
              <a:gd name="T22" fmla="*/ 0 w 4"/>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8">
                <a:moveTo>
                  <a:pt x="0" y="5"/>
                </a:moveTo>
                <a:lnTo>
                  <a:pt x="0" y="3"/>
                </a:lnTo>
                <a:lnTo>
                  <a:pt x="2" y="1"/>
                </a:lnTo>
                <a:lnTo>
                  <a:pt x="4" y="1"/>
                </a:lnTo>
                <a:lnTo>
                  <a:pt x="4" y="0"/>
                </a:lnTo>
                <a:lnTo>
                  <a:pt x="4" y="1"/>
                </a:lnTo>
                <a:lnTo>
                  <a:pt x="4" y="3"/>
                </a:lnTo>
                <a:lnTo>
                  <a:pt x="4" y="5"/>
                </a:lnTo>
                <a:lnTo>
                  <a:pt x="4" y="6"/>
                </a:lnTo>
                <a:lnTo>
                  <a:pt x="4" y="8"/>
                </a:lnTo>
                <a:lnTo>
                  <a:pt x="2" y="5"/>
                </a:lnTo>
                <a:lnTo>
                  <a:pt x="0" y="5"/>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86" name="islîdê">
            <a:extLst>
              <a:ext uri="{FF2B5EF4-FFF2-40B4-BE49-F238E27FC236}">
                <a16:creationId xmlns:a16="http://schemas.microsoft.com/office/drawing/2014/main" id="{16D9FD10-53A2-4A5E-8FE2-0EC65644E627}"/>
              </a:ext>
            </a:extLst>
          </p:cNvPr>
          <p:cNvSpPr/>
          <p:nvPr/>
        </p:nvSpPr>
        <p:spPr bwMode="auto">
          <a:xfrm>
            <a:off x="11714205" y="6600812"/>
            <a:ext cx="17737" cy="31040"/>
          </a:xfrm>
          <a:custGeom>
            <a:avLst/>
            <a:gdLst>
              <a:gd name="T0" fmla="*/ 0 w 4"/>
              <a:gd name="T1" fmla="*/ 0 h 7"/>
              <a:gd name="T2" fmla="*/ 0 w 4"/>
              <a:gd name="T3" fmla="*/ 0 h 7"/>
              <a:gd name="T4" fmla="*/ 4 w 4"/>
              <a:gd name="T5" fmla="*/ 4 h 7"/>
              <a:gd name="T6" fmla="*/ 4 w 4"/>
              <a:gd name="T7" fmla="*/ 4 h 7"/>
              <a:gd name="T8" fmla="*/ 4 w 4"/>
              <a:gd name="T9" fmla="*/ 4 h 7"/>
              <a:gd name="T10" fmla="*/ 2 w 4"/>
              <a:gd name="T11" fmla="*/ 5 h 7"/>
              <a:gd name="T12" fmla="*/ 2 w 4"/>
              <a:gd name="T13" fmla="*/ 7 h 7"/>
              <a:gd name="T14" fmla="*/ 2 w 4"/>
              <a:gd name="T15" fmla="*/ 5 h 7"/>
              <a:gd name="T16" fmla="*/ 0 w 4"/>
              <a:gd name="T17" fmla="*/ 2 h 7"/>
              <a:gd name="T18" fmla="*/ 0 w 4"/>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7">
                <a:moveTo>
                  <a:pt x="0" y="0"/>
                </a:moveTo>
                <a:lnTo>
                  <a:pt x="0" y="0"/>
                </a:lnTo>
                <a:lnTo>
                  <a:pt x="4" y="4"/>
                </a:lnTo>
                <a:lnTo>
                  <a:pt x="4" y="4"/>
                </a:lnTo>
                <a:lnTo>
                  <a:pt x="4" y="4"/>
                </a:lnTo>
                <a:lnTo>
                  <a:pt x="2" y="5"/>
                </a:lnTo>
                <a:lnTo>
                  <a:pt x="2" y="7"/>
                </a:lnTo>
                <a:lnTo>
                  <a:pt x="2" y="5"/>
                </a:lnTo>
                <a:lnTo>
                  <a:pt x="0" y="2"/>
                </a:lnTo>
                <a:lnTo>
                  <a:pt x="0"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87" name="î$1îďe">
            <a:extLst>
              <a:ext uri="{FF2B5EF4-FFF2-40B4-BE49-F238E27FC236}">
                <a16:creationId xmlns:a16="http://schemas.microsoft.com/office/drawing/2014/main" id="{438A7463-1A69-4DB1-AA3E-B0C1732C1CC5}"/>
              </a:ext>
            </a:extLst>
          </p:cNvPr>
          <p:cNvSpPr/>
          <p:nvPr/>
        </p:nvSpPr>
        <p:spPr bwMode="auto">
          <a:xfrm>
            <a:off x="11882706" y="6676195"/>
            <a:ext cx="13303" cy="35474"/>
          </a:xfrm>
          <a:custGeom>
            <a:avLst/>
            <a:gdLst>
              <a:gd name="T0" fmla="*/ 0 w 3"/>
              <a:gd name="T1" fmla="*/ 0 h 8"/>
              <a:gd name="T2" fmla="*/ 0 w 3"/>
              <a:gd name="T3" fmla="*/ 0 h 8"/>
              <a:gd name="T4" fmla="*/ 1 w 3"/>
              <a:gd name="T5" fmla="*/ 1 h 8"/>
              <a:gd name="T6" fmla="*/ 3 w 3"/>
              <a:gd name="T7" fmla="*/ 3 h 8"/>
              <a:gd name="T8" fmla="*/ 1 w 3"/>
              <a:gd name="T9" fmla="*/ 5 h 8"/>
              <a:gd name="T10" fmla="*/ 1 w 3"/>
              <a:gd name="T11" fmla="*/ 5 h 8"/>
              <a:gd name="T12" fmla="*/ 1 w 3"/>
              <a:gd name="T13" fmla="*/ 6 h 8"/>
              <a:gd name="T14" fmla="*/ 0 w 3"/>
              <a:gd name="T15" fmla="*/ 6 h 8"/>
              <a:gd name="T16" fmla="*/ 0 w 3"/>
              <a:gd name="T17" fmla="*/ 8 h 8"/>
              <a:gd name="T18" fmla="*/ 0 w 3"/>
              <a:gd name="T19" fmla="*/ 6 h 8"/>
              <a:gd name="T20" fmla="*/ 0 w 3"/>
              <a:gd name="T21" fmla="*/ 5 h 8"/>
              <a:gd name="T22" fmla="*/ 0 w 3"/>
              <a:gd name="T23" fmla="*/ 3 h 8"/>
              <a:gd name="T24" fmla="*/ 0 w 3"/>
              <a:gd name="T25" fmla="*/ 1 h 8"/>
              <a:gd name="T26" fmla="*/ 0 w 3"/>
              <a:gd name="T2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0" y="0"/>
                </a:moveTo>
                <a:lnTo>
                  <a:pt x="0" y="0"/>
                </a:lnTo>
                <a:lnTo>
                  <a:pt x="1" y="1"/>
                </a:lnTo>
                <a:lnTo>
                  <a:pt x="3" y="3"/>
                </a:lnTo>
                <a:lnTo>
                  <a:pt x="1" y="5"/>
                </a:lnTo>
                <a:lnTo>
                  <a:pt x="1" y="5"/>
                </a:lnTo>
                <a:lnTo>
                  <a:pt x="1" y="6"/>
                </a:lnTo>
                <a:lnTo>
                  <a:pt x="0" y="6"/>
                </a:lnTo>
                <a:lnTo>
                  <a:pt x="0" y="8"/>
                </a:lnTo>
                <a:lnTo>
                  <a:pt x="0" y="6"/>
                </a:lnTo>
                <a:lnTo>
                  <a:pt x="0" y="5"/>
                </a:lnTo>
                <a:lnTo>
                  <a:pt x="0" y="3"/>
                </a:lnTo>
                <a:lnTo>
                  <a:pt x="0" y="1"/>
                </a:lnTo>
                <a:lnTo>
                  <a:pt x="0"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88" name="iṩļïḓê">
            <a:extLst>
              <a:ext uri="{FF2B5EF4-FFF2-40B4-BE49-F238E27FC236}">
                <a16:creationId xmlns:a16="http://schemas.microsoft.com/office/drawing/2014/main" id="{D4976E1B-4C5A-46DB-8022-31C73794BF9D}"/>
              </a:ext>
            </a:extLst>
          </p:cNvPr>
          <p:cNvSpPr/>
          <p:nvPr/>
        </p:nvSpPr>
        <p:spPr bwMode="auto">
          <a:xfrm>
            <a:off x="11825061" y="6622985"/>
            <a:ext cx="4434" cy="8868"/>
          </a:xfrm>
          <a:custGeom>
            <a:avLst/>
            <a:gdLst>
              <a:gd name="T0" fmla="*/ 1 w 1"/>
              <a:gd name="T1" fmla="*/ 2 h 2"/>
              <a:gd name="T2" fmla="*/ 0 w 1"/>
              <a:gd name="T3" fmla="*/ 2 h 2"/>
              <a:gd name="T4" fmla="*/ 0 w 1"/>
              <a:gd name="T5" fmla="*/ 0 h 2"/>
              <a:gd name="T6" fmla="*/ 0 w 1"/>
              <a:gd name="T7" fmla="*/ 0 h 2"/>
              <a:gd name="T8" fmla="*/ 1 w 1"/>
              <a:gd name="T9" fmla="*/ 2 h 2"/>
              <a:gd name="T10" fmla="*/ 1 w 1"/>
              <a:gd name="T11" fmla="*/ 2 h 2"/>
            </a:gdLst>
            <a:ahLst/>
            <a:cxnLst>
              <a:cxn ang="0">
                <a:pos x="T0" y="T1"/>
              </a:cxn>
              <a:cxn ang="0">
                <a:pos x="T2" y="T3"/>
              </a:cxn>
              <a:cxn ang="0">
                <a:pos x="T4" y="T5"/>
              </a:cxn>
              <a:cxn ang="0">
                <a:pos x="T6" y="T7"/>
              </a:cxn>
              <a:cxn ang="0">
                <a:pos x="T8" y="T9"/>
              </a:cxn>
              <a:cxn ang="0">
                <a:pos x="T10" y="T11"/>
              </a:cxn>
            </a:cxnLst>
            <a:rect l="0" t="0" r="r" b="b"/>
            <a:pathLst>
              <a:path w="1" h="2">
                <a:moveTo>
                  <a:pt x="1" y="2"/>
                </a:moveTo>
                <a:lnTo>
                  <a:pt x="0" y="2"/>
                </a:lnTo>
                <a:lnTo>
                  <a:pt x="0" y="0"/>
                </a:lnTo>
                <a:lnTo>
                  <a:pt x="0" y="0"/>
                </a:lnTo>
                <a:lnTo>
                  <a:pt x="1" y="2"/>
                </a:lnTo>
                <a:lnTo>
                  <a:pt x="1" y="2"/>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89" name="ïṧḷïḓê">
            <a:extLst>
              <a:ext uri="{FF2B5EF4-FFF2-40B4-BE49-F238E27FC236}">
                <a16:creationId xmlns:a16="http://schemas.microsoft.com/office/drawing/2014/main" id="{9AE11F0B-6BB7-4202-BBB2-4D7188363488}"/>
              </a:ext>
            </a:extLst>
          </p:cNvPr>
          <p:cNvSpPr/>
          <p:nvPr/>
        </p:nvSpPr>
        <p:spPr bwMode="auto">
          <a:xfrm>
            <a:off x="11829496" y="6645156"/>
            <a:ext cx="4434" cy="4434"/>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90" name="îṡḷïdé">
            <a:extLst>
              <a:ext uri="{FF2B5EF4-FFF2-40B4-BE49-F238E27FC236}">
                <a16:creationId xmlns:a16="http://schemas.microsoft.com/office/drawing/2014/main" id="{FCA82F14-51A2-48A8-8189-5DB1734D1D46}"/>
              </a:ext>
            </a:extLst>
          </p:cNvPr>
          <p:cNvSpPr/>
          <p:nvPr/>
        </p:nvSpPr>
        <p:spPr bwMode="auto">
          <a:xfrm>
            <a:off x="11847232" y="6622985"/>
            <a:ext cx="4434" cy="17737"/>
          </a:xfrm>
          <a:custGeom>
            <a:avLst/>
            <a:gdLst>
              <a:gd name="T0" fmla="*/ 0 w 1"/>
              <a:gd name="T1" fmla="*/ 2 h 4"/>
              <a:gd name="T2" fmla="*/ 0 w 1"/>
              <a:gd name="T3" fmla="*/ 0 h 4"/>
              <a:gd name="T4" fmla="*/ 0 w 1"/>
              <a:gd name="T5" fmla="*/ 0 h 4"/>
              <a:gd name="T6" fmla="*/ 0 w 1"/>
              <a:gd name="T7" fmla="*/ 2 h 4"/>
              <a:gd name="T8" fmla="*/ 1 w 1"/>
              <a:gd name="T9" fmla="*/ 4 h 4"/>
              <a:gd name="T10" fmla="*/ 1 w 1"/>
              <a:gd name="T11" fmla="*/ 4 h 4"/>
              <a:gd name="T12" fmla="*/ 0 w 1"/>
              <a:gd name="T13" fmla="*/ 4 h 4"/>
              <a:gd name="T14" fmla="*/ 0 w 1"/>
              <a:gd name="T15" fmla="*/ 4 h 4"/>
              <a:gd name="T16" fmla="*/ 0 w 1"/>
              <a:gd name="T1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4">
                <a:moveTo>
                  <a:pt x="0" y="2"/>
                </a:moveTo>
                <a:lnTo>
                  <a:pt x="0" y="0"/>
                </a:lnTo>
                <a:lnTo>
                  <a:pt x="0" y="0"/>
                </a:lnTo>
                <a:lnTo>
                  <a:pt x="0" y="2"/>
                </a:lnTo>
                <a:lnTo>
                  <a:pt x="1" y="4"/>
                </a:lnTo>
                <a:lnTo>
                  <a:pt x="1" y="4"/>
                </a:lnTo>
                <a:lnTo>
                  <a:pt x="0" y="4"/>
                </a:lnTo>
                <a:lnTo>
                  <a:pt x="0" y="4"/>
                </a:lnTo>
                <a:lnTo>
                  <a:pt x="0" y="2"/>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91" name="ï$ļîḍê">
            <a:extLst>
              <a:ext uri="{FF2B5EF4-FFF2-40B4-BE49-F238E27FC236}">
                <a16:creationId xmlns:a16="http://schemas.microsoft.com/office/drawing/2014/main" id="{A6AF61A1-DB8E-4178-B4A1-17A9B68979D9}"/>
              </a:ext>
            </a:extLst>
          </p:cNvPr>
          <p:cNvSpPr/>
          <p:nvPr/>
        </p:nvSpPr>
        <p:spPr bwMode="auto">
          <a:xfrm>
            <a:off x="11851667" y="6596378"/>
            <a:ext cx="13303" cy="35474"/>
          </a:xfrm>
          <a:custGeom>
            <a:avLst/>
            <a:gdLst>
              <a:gd name="T0" fmla="*/ 3 w 3"/>
              <a:gd name="T1" fmla="*/ 6 h 8"/>
              <a:gd name="T2" fmla="*/ 3 w 3"/>
              <a:gd name="T3" fmla="*/ 8 h 8"/>
              <a:gd name="T4" fmla="*/ 0 w 3"/>
              <a:gd name="T5" fmla="*/ 5 h 8"/>
              <a:gd name="T6" fmla="*/ 2 w 3"/>
              <a:gd name="T7" fmla="*/ 3 h 8"/>
              <a:gd name="T8" fmla="*/ 3 w 3"/>
              <a:gd name="T9" fmla="*/ 1 h 8"/>
              <a:gd name="T10" fmla="*/ 3 w 3"/>
              <a:gd name="T11" fmla="*/ 1 h 8"/>
              <a:gd name="T12" fmla="*/ 3 w 3"/>
              <a:gd name="T13" fmla="*/ 0 h 8"/>
              <a:gd name="T14" fmla="*/ 3 w 3"/>
              <a:gd name="T15" fmla="*/ 1 h 8"/>
              <a:gd name="T16" fmla="*/ 3 w 3"/>
              <a:gd name="T17" fmla="*/ 1 h 8"/>
              <a:gd name="T18" fmla="*/ 3 w 3"/>
              <a:gd name="T19" fmla="*/ 5 h 8"/>
              <a:gd name="T20" fmla="*/ 3 w 3"/>
              <a:gd name="T21"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8">
                <a:moveTo>
                  <a:pt x="3" y="6"/>
                </a:moveTo>
                <a:lnTo>
                  <a:pt x="3" y="8"/>
                </a:lnTo>
                <a:lnTo>
                  <a:pt x="0" y="5"/>
                </a:lnTo>
                <a:lnTo>
                  <a:pt x="2" y="3"/>
                </a:lnTo>
                <a:lnTo>
                  <a:pt x="3" y="1"/>
                </a:lnTo>
                <a:lnTo>
                  <a:pt x="3" y="1"/>
                </a:lnTo>
                <a:lnTo>
                  <a:pt x="3" y="0"/>
                </a:lnTo>
                <a:lnTo>
                  <a:pt x="3" y="1"/>
                </a:lnTo>
                <a:lnTo>
                  <a:pt x="3" y="1"/>
                </a:lnTo>
                <a:lnTo>
                  <a:pt x="3" y="5"/>
                </a:lnTo>
                <a:lnTo>
                  <a:pt x="3" y="6"/>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92" name="îš1iḑe">
            <a:extLst>
              <a:ext uri="{FF2B5EF4-FFF2-40B4-BE49-F238E27FC236}">
                <a16:creationId xmlns:a16="http://schemas.microsoft.com/office/drawing/2014/main" id="{0E915ECD-C282-4D1B-ABAC-7CB9948F2F46}"/>
              </a:ext>
            </a:extLst>
          </p:cNvPr>
          <p:cNvSpPr/>
          <p:nvPr/>
        </p:nvSpPr>
        <p:spPr bwMode="auto">
          <a:xfrm>
            <a:off x="11882706" y="6596378"/>
            <a:ext cx="4434" cy="22171"/>
          </a:xfrm>
          <a:custGeom>
            <a:avLst/>
            <a:gdLst>
              <a:gd name="T0" fmla="*/ 0 w 1"/>
              <a:gd name="T1" fmla="*/ 1 h 5"/>
              <a:gd name="T2" fmla="*/ 0 w 1"/>
              <a:gd name="T3" fmla="*/ 0 h 5"/>
              <a:gd name="T4" fmla="*/ 1 w 1"/>
              <a:gd name="T5" fmla="*/ 1 h 5"/>
              <a:gd name="T6" fmla="*/ 1 w 1"/>
              <a:gd name="T7" fmla="*/ 3 h 5"/>
              <a:gd name="T8" fmla="*/ 1 w 1"/>
              <a:gd name="T9" fmla="*/ 3 h 5"/>
              <a:gd name="T10" fmla="*/ 0 w 1"/>
              <a:gd name="T11" fmla="*/ 5 h 5"/>
              <a:gd name="T12" fmla="*/ 0 w 1"/>
              <a:gd name="T13" fmla="*/ 5 h 5"/>
              <a:gd name="T14" fmla="*/ 0 w 1"/>
              <a:gd name="T15" fmla="*/ 3 h 5"/>
              <a:gd name="T16" fmla="*/ 0 w 1"/>
              <a:gd name="T17" fmla="*/ 3 h 5"/>
              <a:gd name="T18" fmla="*/ 0 w 1"/>
              <a:gd name="T1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5">
                <a:moveTo>
                  <a:pt x="0" y="1"/>
                </a:moveTo>
                <a:lnTo>
                  <a:pt x="0" y="0"/>
                </a:lnTo>
                <a:lnTo>
                  <a:pt x="1" y="1"/>
                </a:lnTo>
                <a:lnTo>
                  <a:pt x="1" y="3"/>
                </a:lnTo>
                <a:lnTo>
                  <a:pt x="1" y="3"/>
                </a:lnTo>
                <a:lnTo>
                  <a:pt x="0" y="5"/>
                </a:lnTo>
                <a:lnTo>
                  <a:pt x="0" y="5"/>
                </a:lnTo>
                <a:lnTo>
                  <a:pt x="0" y="3"/>
                </a:lnTo>
                <a:lnTo>
                  <a:pt x="0" y="3"/>
                </a:lnTo>
                <a:lnTo>
                  <a:pt x="0" y="1"/>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93" name="iSlíḍe">
            <a:extLst>
              <a:ext uri="{FF2B5EF4-FFF2-40B4-BE49-F238E27FC236}">
                <a16:creationId xmlns:a16="http://schemas.microsoft.com/office/drawing/2014/main" id="{01F589CB-BB0D-4701-8195-65C06E025B02}"/>
              </a:ext>
            </a:extLst>
          </p:cNvPr>
          <p:cNvSpPr/>
          <p:nvPr/>
        </p:nvSpPr>
        <p:spPr bwMode="auto">
          <a:xfrm>
            <a:off x="11887141" y="6583076"/>
            <a:ext cx="31040" cy="17737"/>
          </a:xfrm>
          <a:custGeom>
            <a:avLst/>
            <a:gdLst>
              <a:gd name="T0" fmla="*/ 0 w 7"/>
              <a:gd name="T1" fmla="*/ 0 h 4"/>
              <a:gd name="T2" fmla="*/ 0 w 7"/>
              <a:gd name="T3" fmla="*/ 0 h 4"/>
              <a:gd name="T4" fmla="*/ 2 w 7"/>
              <a:gd name="T5" fmla="*/ 0 h 4"/>
              <a:gd name="T6" fmla="*/ 4 w 7"/>
              <a:gd name="T7" fmla="*/ 0 h 4"/>
              <a:gd name="T8" fmla="*/ 7 w 7"/>
              <a:gd name="T9" fmla="*/ 0 h 4"/>
              <a:gd name="T10" fmla="*/ 5 w 7"/>
              <a:gd name="T11" fmla="*/ 1 h 4"/>
              <a:gd name="T12" fmla="*/ 5 w 7"/>
              <a:gd name="T13" fmla="*/ 1 h 4"/>
              <a:gd name="T14" fmla="*/ 4 w 7"/>
              <a:gd name="T15" fmla="*/ 3 h 4"/>
              <a:gd name="T16" fmla="*/ 4 w 7"/>
              <a:gd name="T17" fmla="*/ 4 h 4"/>
              <a:gd name="T18" fmla="*/ 4 w 7"/>
              <a:gd name="T19" fmla="*/ 4 h 4"/>
              <a:gd name="T20" fmla="*/ 4 w 7"/>
              <a:gd name="T21" fmla="*/ 4 h 4"/>
              <a:gd name="T22" fmla="*/ 2 w 7"/>
              <a:gd name="T23" fmla="*/ 3 h 4"/>
              <a:gd name="T24" fmla="*/ 0 w 7"/>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4">
                <a:moveTo>
                  <a:pt x="0" y="0"/>
                </a:moveTo>
                <a:lnTo>
                  <a:pt x="0" y="0"/>
                </a:lnTo>
                <a:lnTo>
                  <a:pt x="2" y="0"/>
                </a:lnTo>
                <a:lnTo>
                  <a:pt x="4" y="0"/>
                </a:lnTo>
                <a:lnTo>
                  <a:pt x="7" y="0"/>
                </a:lnTo>
                <a:lnTo>
                  <a:pt x="5" y="1"/>
                </a:lnTo>
                <a:lnTo>
                  <a:pt x="5" y="1"/>
                </a:lnTo>
                <a:lnTo>
                  <a:pt x="4" y="3"/>
                </a:lnTo>
                <a:lnTo>
                  <a:pt x="4" y="4"/>
                </a:lnTo>
                <a:lnTo>
                  <a:pt x="4" y="4"/>
                </a:lnTo>
                <a:lnTo>
                  <a:pt x="4" y="4"/>
                </a:lnTo>
                <a:lnTo>
                  <a:pt x="2" y="3"/>
                </a:lnTo>
                <a:lnTo>
                  <a:pt x="0"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94" name="îsḻidé">
            <a:extLst>
              <a:ext uri="{FF2B5EF4-FFF2-40B4-BE49-F238E27FC236}">
                <a16:creationId xmlns:a16="http://schemas.microsoft.com/office/drawing/2014/main" id="{759CADE7-6DE0-4405-87B8-845EC569A5AE}"/>
              </a:ext>
            </a:extLst>
          </p:cNvPr>
          <p:cNvSpPr/>
          <p:nvPr/>
        </p:nvSpPr>
        <p:spPr bwMode="auto">
          <a:xfrm>
            <a:off x="11940352" y="6622985"/>
            <a:ext cx="26605" cy="22171"/>
          </a:xfrm>
          <a:custGeom>
            <a:avLst/>
            <a:gdLst>
              <a:gd name="T0" fmla="*/ 6 w 6"/>
              <a:gd name="T1" fmla="*/ 5 h 5"/>
              <a:gd name="T2" fmla="*/ 6 w 6"/>
              <a:gd name="T3" fmla="*/ 5 h 5"/>
              <a:gd name="T4" fmla="*/ 3 w 6"/>
              <a:gd name="T5" fmla="*/ 5 h 5"/>
              <a:gd name="T6" fmla="*/ 1 w 6"/>
              <a:gd name="T7" fmla="*/ 5 h 5"/>
              <a:gd name="T8" fmla="*/ 0 w 6"/>
              <a:gd name="T9" fmla="*/ 5 h 5"/>
              <a:gd name="T10" fmla="*/ 1 w 6"/>
              <a:gd name="T11" fmla="*/ 4 h 5"/>
              <a:gd name="T12" fmla="*/ 1 w 6"/>
              <a:gd name="T13" fmla="*/ 4 h 5"/>
              <a:gd name="T14" fmla="*/ 3 w 6"/>
              <a:gd name="T15" fmla="*/ 2 h 5"/>
              <a:gd name="T16" fmla="*/ 3 w 6"/>
              <a:gd name="T17" fmla="*/ 0 h 5"/>
              <a:gd name="T18" fmla="*/ 3 w 6"/>
              <a:gd name="T19" fmla="*/ 0 h 5"/>
              <a:gd name="T20" fmla="*/ 6 w 6"/>
              <a:gd name="T21" fmla="*/ 4 h 5"/>
              <a:gd name="T22" fmla="*/ 6 w 6"/>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6" y="5"/>
                </a:moveTo>
                <a:lnTo>
                  <a:pt x="6" y="5"/>
                </a:lnTo>
                <a:lnTo>
                  <a:pt x="3" y="5"/>
                </a:lnTo>
                <a:lnTo>
                  <a:pt x="1" y="5"/>
                </a:lnTo>
                <a:lnTo>
                  <a:pt x="0" y="5"/>
                </a:lnTo>
                <a:lnTo>
                  <a:pt x="1" y="4"/>
                </a:lnTo>
                <a:lnTo>
                  <a:pt x="1" y="4"/>
                </a:lnTo>
                <a:lnTo>
                  <a:pt x="3" y="2"/>
                </a:lnTo>
                <a:lnTo>
                  <a:pt x="3" y="0"/>
                </a:lnTo>
                <a:lnTo>
                  <a:pt x="3" y="0"/>
                </a:lnTo>
                <a:lnTo>
                  <a:pt x="6" y="4"/>
                </a:lnTo>
                <a:lnTo>
                  <a:pt x="6" y="5"/>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95" name="ïśľídé">
            <a:extLst>
              <a:ext uri="{FF2B5EF4-FFF2-40B4-BE49-F238E27FC236}">
                <a16:creationId xmlns:a16="http://schemas.microsoft.com/office/drawing/2014/main" id="{B0117776-02F2-40F6-8A91-C2455BC5411B}"/>
              </a:ext>
            </a:extLst>
          </p:cNvPr>
          <p:cNvSpPr/>
          <p:nvPr/>
        </p:nvSpPr>
        <p:spPr bwMode="auto">
          <a:xfrm>
            <a:off x="11940352" y="6662893"/>
            <a:ext cx="26605" cy="13303"/>
          </a:xfrm>
          <a:custGeom>
            <a:avLst/>
            <a:gdLst>
              <a:gd name="T0" fmla="*/ 5 w 6"/>
              <a:gd name="T1" fmla="*/ 0 h 3"/>
              <a:gd name="T2" fmla="*/ 6 w 6"/>
              <a:gd name="T3" fmla="*/ 0 h 3"/>
              <a:gd name="T4" fmla="*/ 6 w 6"/>
              <a:gd name="T5" fmla="*/ 0 h 3"/>
              <a:gd name="T6" fmla="*/ 6 w 6"/>
              <a:gd name="T7" fmla="*/ 0 h 3"/>
              <a:gd name="T8" fmla="*/ 6 w 6"/>
              <a:gd name="T9" fmla="*/ 0 h 3"/>
              <a:gd name="T10" fmla="*/ 5 w 6"/>
              <a:gd name="T11" fmla="*/ 1 h 3"/>
              <a:gd name="T12" fmla="*/ 5 w 6"/>
              <a:gd name="T13" fmla="*/ 3 h 3"/>
              <a:gd name="T14" fmla="*/ 3 w 6"/>
              <a:gd name="T15" fmla="*/ 3 h 3"/>
              <a:gd name="T16" fmla="*/ 3 w 6"/>
              <a:gd name="T17" fmla="*/ 3 h 3"/>
              <a:gd name="T18" fmla="*/ 3 w 6"/>
              <a:gd name="T19" fmla="*/ 3 h 3"/>
              <a:gd name="T20" fmla="*/ 0 w 6"/>
              <a:gd name="T21" fmla="*/ 0 h 3"/>
              <a:gd name="T22" fmla="*/ 1 w 6"/>
              <a:gd name="T23" fmla="*/ 0 h 3"/>
              <a:gd name="T24" fmla="*/ 1 w 6"/>
              <a:gd name="T25" fmla="*/ 0 h 3"/>
              <a:gd name="T26" fmla="*/ 5 w 6"/>
              <a:gd name="T2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3">
                <a:moveTo>
                  <a:pt x="5" y="0"/>
                </a:moveTo>
                <a:lnTo>
                  <a:pt x="6" y="0"/>
                </a:lnTo>
                <a:lnTo>
                  <a:pt x="6" y="0"/>
                </a:lnTo>
                <a:lnTo>
                  <a:pt x="6" y="0"/>
                </a:lnTo>
                <a:lnTo>
                  <a:pt x="6" y="0"/>
                </a:lnTo>
                <a:lnTo>
                  <a:pt x="5" y="1"/>
                </a:lnTo>
                <a:lnTo>
                  <a:pt x="5" y="3"/>
                </a:lnTo>
                <a:lnTo>
                  <a:pt x="3" y="3"/>
                </a:lnTo>
                <a:lnTo>
                  <a:pt x="3" y="3"/>
                </a:lnTo>
                <a:lnTo>
                  <a:pt x="3" y="3"/>
                </a:lnTo>
                <a:lnTo>
                  <a:pt x="0" y="0"/>
                </a:lnTo>
                <a:lnTo>
                  <a:pt x="1" y="0"/>
                </a:lnTo>
                <a:lnTo>
                  <a:pt x="1" y="0"/>
                </a:lnTo>
                <a:lnTo>
                  <a:pt x="5"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96" name="íŝ1îḑé">
            <a:extLst>
              <a:ext uri="{FF2B5EF4-FFF2-40B4-BE49-F238E27FC236}">
                <a16:creationId xmlns:a16="http://schemas.microsoft.com/office/drawing/2014/main" id="{128C3212-E684-484C-8519-D066D7E17A7E}"/>
              </a:ext>
            </a:extLst>
          </p:cNvPr>
          <p:cNvSpPr/>
          <p:nvPr/>
        </p:nvSpPr>
        <p:spPr bwMode="auto">
          <a:xfrm>
            <a:off x="11887141" y="6622985"/>
            <a:ext cx="31040" cy="22171"/>
          </a:xfrm>
          <a:custGeom>
            <a:avLst/>
            <a:gdLst>
              <a:gd name="T0" fmla="*/ 0 w 7"/>
              <a:gd name="T1" fmla="*/ 4 h 5"/>
              <a:gd name="T2" fmla="*/ 2 w 7"/>
              <a:gd name="T3" fmla="*/ 2 h 5"/>
              <a:gd name="T4" fmla="*/ 2 w 7"/>
              <a:gd name="T5" fmla="*/ 2 h 5"/>
              <a:gd name="T6" fmla="*/ 4 w 7"/>
              <a:gd name="T7" fmla="*/ 0 h 5"/>
              <a:gd name="T8" fmla="*/ 4 w 7"/>
              <a:gd name="T9" fmla="*/ 0 h 5"/>
              <a:gd name="T10" fmla="*/ 4 w 7"/>
              <a:gd name="T11" fmla="*/ 0 h 5"/>
              <a:gd name="T12" fmla="*/ 7 w 7"/>
              <a:gd name="T13" fmla="*/ 5 h 5"/>
              <a:gd name="T14" fmla="*/ 7 w 7"/>
              <a:gd name="T15" fmla="*/ 5 h 5"/>
              <a:gd name="T16" fmla="*/ 5 w 7"/>
              <a:gd name="T17" fmla="*/ 5 h 5"/>
              <a:gd name="T18" fmla="*/ 2 w 7"/>
              <a:gd name="T19" fmla="*/ 5 h 5"/>
              <a:gd name="T20" fmla="*/ 0 w 7"/>
              <a:gd name="T21" fmla="*/ 5 h 5"/>
              <a:gd name="T22" fmla="*/ 0 w 7"/>
              <a:gd name="T2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0" y="4"/>
                </a:moveTo>
                <a:lnTo>
                  <a:pt x="2" y="2"/>
                </a:lnTo>
                <a:lnTo>
                  <a:pt x="2" y="2"/>
                </a:lnTo>
                <a:lnTo>
                  <a:pt x="4" y="0"/>
                </a:lnTo>
                <a:lnTo>
                  <a:pt x="4" y="0"/>
                </a:lnTo>
                <a:lnTo>
                  <a:pt x="4" y="0"/>
                </a:lnTo>
                <a:lnTo>
                  <a:pt x="7" y="5"/>
                </a:lnTo>
                <a:lnTo>
                  <a:pt x="7" y="5"/>
                </a:lnTo>
                <a:lnTo>
                  <a:pt x="5" y="5"/>
                </a:lnTo>
                <a:lnTo>
                  <a:pt x="2" y="5"/>
                </a:lnTo>
                <a:lnTo>
                  <a:pt x="0" y="5"/>
                </a:lnTo>
                <a:lnTo>
                  <a:pt x="0" y="4"/>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97" name="îŝ1ïḋê">
            <a:extLst>
              <a:ext uri="{FF2B5EF4-FFF2-40B4-BE49-F238E27FC236}">
                <a16:creationId xmlns:a16="http://schemas.microsoft.com/office/drawing/2014/main" id="{8A5C5DBE-FF32-48B4-9276-92E22FC372E4}"/>
              </a:ext>
            </a:extLst>
          </p:cNvPr>
          <p:cNvSpPr/>
          <p:nvPr/>
        </p:nvSpPr>
        <p:spPr bwMode="auto">
          <a:xfrm>
            <a:off x="12002432" y="6733840"/>
            <a:ext cx="22171" cy="22171"/>
          </a:xfrm>
          <a:custGeom>
            <a:avLst/>
            <a:gdLst>
              <a:gd name="T0" fmla="*/ 2 w 5"/>
              <a:gd name="T1" fmla="*/ 0 h 5"/>
              <a:gd name="T2" fmla="*/ 4 w 5"/>
              <a:gd name="T3" fmla="*/ 0 h 5"/>
              <a:gd name="T4" fmla="*/ 5 w 5"/>
              <a:gd name="T5" fmla="*/ 0 h 5"/>
              <a:gd name="T6" fmla="*/ 5 w 5"/>
              <a:gd name="T7" fmla="*/ 0 h 5"/>
              <a:gd name="T8" fmla="*/ 5 w 5"/>
              <a:gd name="T9" fmla="*/ 0 h 5"/>
              <a:gd name="T10" fmla="*/ 5 w 5"/>
              <a:gd name="T11" fmla="*/ 0 h 5"/>
              <a:gd name="T12" fmla="*/ 5 w 5"/>
              <a:gd name="T13" fmla="*/ 2 h 5"/>
              <a:gd name="T14" fmla="*/ 5 w 5"/>
              <a:gd name="T15" fmla="*/ 3 h 5"/>
              <a:gd name="T16" fmla="*/ 5 w 5"/>
              <a:gd name="T17" fmla="*/ 3 h 5"/>
              <a:gd name="T18" fmla="*/ 5 w 5"/>
              <a:gd name="T19" fmla="*/ 5 h 5"/>
              <a:gd name="T20" fmla="*/ 5 w 5"/>
              <a:gd name="T21" fmla="*/ 5 h 5"/>
              <a:gd name="T22" fmla="*/ 0 w 5"/>
              <a:gd name="T23" fmla="*/ 0 h 5"/>
              <a:gd name="T24" fmla="*/ 0 w 5"/>
              <a:gd name="T25" fmla="*/ 0 h 5"/>
              <a:gd name="T26" fmla="*/ 2 w 5"/>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5">
                <a:moveTo>
                  <a:pt x="2" y="0"/>
                </a:moveTo>
                <a:lnTo>
                  <a:pt x="4" y="0"/>
                </a:lnTo>
                <a:lnTo>
                  <a:pt x="5" y="0"/>
                </a:lnTo>
                <a:lnTo>
                  <a:pt x="5" y="0"/>
                </a:lnTo>
                <a:lnTo>
                  <a:pt x="5" y="0"/>
                </a:lnTo>
                <a:lnTo>
                  <a:pt x="5" y="0"/>
                </a:lnTo>
                <a:lnTo>
                  <a:pt x="5" y="2"/>
                </a:lnTo>
                <a:lnTo>
                  <a:pt x="5" y="3"/>
                </a:lnTo>
                <a:lnTo>
                  <a:pt x="5" y="3"/>
                </a:lnTo>
                <a:lnTo>
                  <a:pt x="5" y="5"/>
                </a:lnTo>
                <a:lnTo>
                  <a:pt x="5" y="5"/>
                </a:lnTo>
                <a:lnTo>
                  <a:pt x="0" y="0"/>
                </a:lnTo>
                <a:lnTo>
                  <a:pt x="0" y="0"/>
                </a:lnTo>
                <a:lnTo>
                  <a:pt x="2"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98" name="ïšlîḓé">
            <a:extLst>
              <a:ext uri="{FF2B5EF4-FFF2-40B4-BE49-F238E27FC236}">
                <a16:creationId xmlns:a16="http://schemas.microsoft.com/office/drawing/2014/main" id="{7D046392-FFFD-437A-8BA9-0EE7328E0397}"/>
              </a:ext>
            </a:extLst>
          </p:cNvPr>
          <p:cNvSpPr/>
          <p:nvPr/>
        </p:nvSpPr>
        <p:spPr bwMode="auto">
          <a:xfrm>
            <a:off x="11975826" y="6778184"/>
            <a:ext cx="26605" cy="22171"/>
          </a:xfrm>
          <a:custGeom>
            <a:avLst/>
            <a:gdLst>
              <a:gd name="T0" fmla="*/ 3 w 6"/>
              <a:gd name="T1" fmla="*/ 5 h 5"/>
              <a:gd name="T2" fmla="*/ 1 w 6"/>
              <a:gd name="T3" fmla="*/ 5 h 5"/>
              <a:gd name="T4" fmla="*/ 0 w 6"/>
              <a:gd name="T5" fmla="*/ 5 h 5"/>
              <a:gd name="T6" fmla="*/ 1 w 6"/>
              <a:gd name="T7" fmla="*/ 5 h 5"/>
              <a:gd name="T8" fmla="*/ 1 w 6"/>
              <a:gd name="T9" fmla="*/ 3 h 5"/>
              <a:gd name="T10" fmla="*/ 1 w 6"/>
              <a:gd name="T11" fmla="*/ 1 h 5"/>
              <a:gd name="T12" fmla="*/ 1 w 6"/>
              <a:gd name="T13" fmla="*/ 0 h 5"/>
              <a:gd name="T14" fmla="*/ 3 w 6"/>
              <a:gd name="T15" fmla="*/ 1 h 5"/>
              <a:gd name="T16" fmla="*/ 6 w 6"/>
              <a:gd name="T17" fmla="*/ 5 h 5"/>
              <a:gd name="T18" fmla="*/ 6 w 6"/>
              <a:gd name="T19" fmla="*/ 5 h 5"/>
              <a:gd name="T20" fmla="*/ 5 w 6"/>
              <a:gd name="T21" fmla="*/ 5 h 5"/>
              <a:gd name="T22" fmla="*/ 3 w 6"/>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3" y="5"/>
                </a:moveTo>
                <a:lnTo>
                  <a:pt x="1" y="5"/>
                </a:lnTo>
                <a:lnTo>
                  <a:pt x="0" y="5"/>
                </a:lnTo>
                <a:lnTo>
                  <a:pt x="1" y="5"/>
                </a:lnTo>
                <a:lnTo>
                  <a:pt x="1" y="3"/>
                </a:lnTo>
                <a:lnTo>
                  <a:pt x="1" y="1"/>
                </a:lnTo>
                <a:lnTo>
                  <a:pt x="1" y="0"/>
                </a:lnTo>
                <a:lnTo>
                  <a:pt x="3" y="1"/>
                </a:lnTo>
                <a:lnTo>
                  <a:pt x="6" y="5"/>
                </a:lnTo>
                <a:lnTo>
                  <a:pt x="6" y="5"/>
                </a:lnTo>
                <a:lnTo>
                  <a:pt x="5" y="5"/>
                </a:lnTo>
                <a:lnTo>
                  <a:pt x="3" y="5"/>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199" name="îś1îḍe">
            <a:extLst>
              <a:ext uri="{FF2B5EF4-FFF2-40B4-BE49-F238E27FC236}">
                <a16:creationId xmlns:a16="http://schemas.microsoft.com/office/drawing/2014/main" id="{BB30A003-5076-42E0-BC4C-B07AEE97025C}"/>
              </a:ext>
            </a:extLst>
          </p:cNvPr>
          <p:cNvSpPr/>
          <p:nvPr/>
        </p:nvSpPr>
        <p:spPr bwMode="auto">
          <a:xfrm>
            <a:off x="11887141" y="6702801"/>
            <a:ext cx="31040" cy="22171"/>
          </a:xfrm>
          <a:custGeom>
            <a:avLst/>
            <a:gdLst>
              <a:gd name="T0" fmla="*/ 4 w 7"/>
              <a:gd name="T1" fmla="*/ 5 h 5"/>
              <a:gd name="T2" fmla="*/ 4 w 7"/>
              <a:gd name="T3" fmla="*/ 5 h 5"/>
              <a:gd name="T4" fmla="*/ 2 w 7"/>
              <a:gd name="T5" fmla="*/ 5 h 5"/>
              <a:gd name="T6" fmla="*/ 0 w 7"/>
              <a:gd name="T7" fmla="*/ 5 h 5"/>
              <a:gd name="T8" fmla="*/ 0 w 7"/>
              <a:gd name="T9" fmla="*/ 4 h 5"/>
              <a:gd name="T10" fmla="*/ 2 w 7"/>
              <a:gd name="T11" fmla="*/ 2 h 5"/>
              <a:gd name="T12" fmla="*/ 2 w 7"/>
              <a:gd name="T13" fmla="*/ 2 h 5"/>
              <a:gd name="T14" fmla="*/ 2 w 7"/>
              <a:gd name="T15" fmla="*/ 0 h 5"/>
              <a:gd name="T16" fmla="*/ 4 w 7"/>
              <a:gd name="T17" fmla="*/ 0 h 5"/>
              <a:gd name="T18" fmla="*/ 4 w 7"/>
              <a:gd name="T19" fmla="*/ 0 h 5"/>
              <a:gd name="T20" fmla="*/ 4 w 7"/>
              <a:gd name="T21" fmla="*/ 2 h 5"/>
              <a:gd name="T22" fmla="*/ 7 w 7"/>
              <a:gd name="T23" fmla="*/ 5 h 5"/>
              <a:gd name="T24" fmla="*/ 7 w 7"/>
              <a:gd name="T25" fmla="*/ 5 h 5"/>
              <a:gd name="T26" fmla="*/ 4 w 7"/>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4" y="5"/>
                </a:moveTo>
                <a:lnTo>
                  <a:pt x="4" y="5"/>
                </a:lnTo>
                <a:lnTo>
                  <a:pt x="2" y="5"/>
                </a:lnTo>
                <a:lnTo>
                  <a:pt x="0" y="5"/>
                </a:lnTo>
                <a:lnTo>
                  <a:pt x="0" y="4"/>
                </a:lnTo>
                <a:lnTo>
                  <a:pt x="2" y="2"/>
                </a:lnTo>
                <a:lnTo>
                  <a:pt x="2" y="2"/>
                </a:lnTo>
                <a:lnTo>
                  <a:pt x="2" y="0"/>
                </a:lnTo>
                <a:lnTo>
                  <a:pt x="4" y="0"/>
                </a:lnTo>
                <a:lnTo>
                  <a:pt x="4" y="0"/>
                </a:lnTo>
                <a:lnTo>
                  <a:pt x="4" y="2"/>
                </a:lnTo>
                <a:lnTo>
                  <a:pt x="7" y="5"/>
                </a:lnTo>
                <a:lnTo>
                  <a:pt x="7" y="5"/>
                </a:lnTo>
                <a:lnTo>
                  <a:pt x="4" y="5"/>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00" name="îš1ïḑe">
            <a:extLst>
              <a:ext uri="{FF2B5EF4-FFF2-40B4-BE49-F238E27FC236}">
                <a16:creationId xmlns:a16="http://schemas.microsoft.com/office/drawing/2014/main" id="{2A299A2C-2742-4078-9632-A17356EFC07D}"/>
              </a:ext>
            </a:extLst>
          </p:cNvPr>
          <p:cNvSpPr/>
          <p:nvPr/>
        </p:nvSpPr>
        <p:spPr bwMode="auto">
          <a:xfrm>
            <a:off x="11940352" y="6702801"/>
            <a:ext cx="26605" cy="17737"/>
          </a:xfrm>
          <a:custGeom>
            <a:avLst/>
            <a:gdLst>
              <a:gd name="T0" fmla="*/ 6 w 6"/>
              <a:gd name="T1" fmla="*/ 4 h 4"/>
              <a:gd name="T2" fmla="*/ 5 w 6"/>
              <a:gd name="T3" fmla="*/ 4 h 4"/>
              <a:gd name="T4" fmla="*/ 3 w 6"/>
              <a:gd name="T5" fmla="*/ 4 h 4"/>
              <a:gd name="T6" fmla="*/ 1 w 6"/>
              <a:gd name="T7" fmla="*/ 4 h 4"/>
              <a:gd name="T8" fmla="*/ 0 w 6"/>
              <a:gd name="T9" fmla="*/ 4 h 4"/>
              <a:gd name="T10" fmla="*/ 1 w 6"/>
              <a:gd name="T11" fmla="*/ 4 h 4"/>
              <a:gd name="T12" fmla="*/ 1 w 6"/>
              <a:gd name="T13" fmla="*/ 2 h 4"/>
              <a:gd name="T14" fmla="*/ 1 w 6"/>
              <a:gd name="T15" fmla="*/ 2 h 4"/>
              <a:gd name="T16" fmla="*/ 3 w 6"/>
              <a:gd name="T17" fmla="*/ 0 h 4"/>
              <a:gd name="T18" fmla="*/ 3 w 6"/>
              <a:gd name="T19" fmla="*/ 0 h 4"/>
              <a:gd name="T20" fmla="*/ 5 w 6"/>
              <a:gd name="T21" fmla="*/ 0 h 4"/>
              <a:gd name="T22" fmla="*/ 6 w 6"/>
              <a:gd name="T2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4">
                <a:moveTo>
                  <a:pt x="6" y="4"/>
                </a:moveTo>
                <a:lnTo>
                  <a:pt x="5" y="4"/>
                </a:lnTo>
                <a:lnTo>
                  <a:pt x="3" y="4"/>
                </a:lnTo>
                <a:lnTo>
                  <a:pt x="1" y="4"/>
                </a:lnTo>
                <a:lnTo>
                  <a:pt x="0" y="4"/>
                </a:lnTo>
                <a:lnTo>
                  <a:pt x="1" y="4"/>
                </a:lnTo>
                <a:lnTo>
                  <a:pt x="1" y="2"/>
                </a:lnTo>
                <a:lnTo>
                  <a:pt x="1" y="2"/>
                </a:lnTo>
                <a:lnTo>
                  <a:pt x="3" y="0"/>
                </a:lnTo>
                <a:lnTo>
                  <a:pt x="3" y="0"/>
                </a:lnTo>
                <a:lnTo>
                  <a:pt x="5" y="0"/>
                </a:lnTo>
                <a:lnTo>
                  <a:pt x="6" y="4"/>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01" name="íśḻíďê">
            <a:extLst>
              <a:ext uri="{FF2B5EF4-FFF2-40B4-BE49-F238E27FC236}">
                <a16:creationId xmlns:a16="http://schemas.microsoft.com/office/drawing/2014/main" id="{44C4C5B5-D094-4E36-9606-BAEC5DA070C3}"/>
              </a:ext>
            </a:extLst>
          </p:cNvPr>
          <p:cNvSpPr/>
          <p:nvPr/>
        </p:nvSpPr>
        <p:spPr bwMode="auto">
          <a:xfrm>
            <a:off x="11944787" y="6733840"/>
            <a:ext cx="31040" cy="22171"/>
          </a:xfrm>
          <a:custGeom>
            <a:avLst/>
            <a:gdLst>
              <a:gd name="T0" fmla="*/ 4 w 7"/>
              <a:gd name="T1" fmla="*/ 0 h 5"/>
              <a:gd name="T2" fmla="*/ 5 w 7"/>
              <a:gd name="T3" fmla="*/ 0 h 5"/>
              <a:gd name="T4" fmla="*/ 7 w 7"/>
              <a:gd name="T5" fmla="*/ 0 h 5"/>
              <a:gd name="T6" fmla="*/ 7 w 7"/>
              <a:gd name="T7" fmla="*/ 0 h 5"/>
              <a:gd name="T8" fmla="*/ 7 w 7"/>
              <a:gd name="T9" fmla="*/ 0 h 5"/>
              <a:gd name="T10" fmla="*/ 7 w 7"/>
              <a:gd name="T11" fmla="*/ 2 h 5"/>
              <a:gd name="T12" fmla="*/ 7 w 7"/>
              <a:gd name="T13" fmla="*/ 3 h 5"/>
              <a:gd name="T14" fmla="*/ 7 w 7"/>
              <a:gd name="T15" fmla="*/ 5 h 5"/>
              <a:gd name="T16" fmla="*/ 5 w 7"/>
              <a:gd name="T17" fmla="*/ 5 h 5"/>
              <a:gd name="T18" fmla="*/ 0 w 7"/>
              <a:gd name="T19" fmla="*/ 0 h 5"/>
              <a:gd name="T20" fmla="*/ 2 w 7"/>
              <a:gd name="T21" fmla="*/ 0 h 5"/>
              <a:gd name="T22" fmla="*/ 4 w 7"/>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4" y="0"/>
                </a:moveTo>
                <a:lnTo>
                  <a:pt x="5" y="0"/>
                </a:lnTo>
                <a:lnTo>
                  <a:pt x="7" y="0"/>
                </a:lnTo>
                <a:lnTo>
                  <a:pt x="7" y="0"/>
                </a:lnTo>
                <a:lnTo>
                  <a:pt x="7" y="0"/>
                </a:lnTo>
                <a:lnTo>
                  <a:pt x="7" y="2"/>
                </a:lnTo>
                <a:lnTo>
                  <a:pt x="7" y="3"/>
                </a:lnTo>
                <a:lnTo>
                  <a:pt x="7" y="5"/>
                </a:lnTo>
                <a:lnTo>
                  <a:pt x="5" y="5"/>
                </a:lnTo>
                <a:lnTo>
                  <a:pt x="0" y="0"/>
                </a:lnTo>
                <a:lnTo>
                  <a:pt x="2" y="0"/>
                </a:lnTo>
                <a:lnTo>
                  <a:pt x="4"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02" name="iṥľîḓé">
            <a:extLst>
              <a:ext uri="{FF2B5EF4-FFF2-40B4-BE49-F238E27FC236}">
                <a16:creationId xmlns:a16="http://schemas.microsoft.com/office/drawing/2014/main" id="{A10A30F6-E8DE-47C9-82D8-15D4E72C4C23}"/>
              </a:ext>
            </a:extLst>
          </p:cNvPr>
          <p:cNvSpPr/>
          <p:nvPr/>
        </p:nvSpPr>
        <p:spPr bwMode="auto">
          <a:xfrm>
            <a:off x="11896009" y="6733840"/>
            <a:ext cx="22171" cy="22171"/>
          </a:xfrm>
          <a:custGeom>
            <a:avLst/>
            <a:gdLst>
              <a:gd name="T0" fmla="*/ 3 w 5"/>
              <a:gd name="T1" fmla="*/ 0 h 5"/>
              <a:gd name="T2" fmla="*/ 5 w 5"/>
              <a:gd name="T3" fmla="*/ 0 h 5"/>
              <a:gd name="T4" fmla="*/ 5 w 5"/>
              <a:gd name="T5" fmla="*/ 0 h 5"/>
              <a:gd name="T6" fmla="*/ 5 w 5"/>
              <a:gd name="T7" fmla="*/ 0 h 5"/>
              <a:gd name="T8" fmla="*/ 5 w 5"/>
              <a:gd name="T9" fmla="*/ 0 h 5"/>
              <a:gd name="T10" fmla="*/ 5 w 5"/>
              <a:gd name="T11" fmla="*/ 2 h 5"/>
              <a:gd name="T12" fmla="*/ 5 w 5"/>
              <a:gd name="T13" fmla="*/ 3 h 5"/>
              <a:gd name="T14" fmla="*/ 5 w 5"/>
              <a:gd name="T15" fmla="*/ 5 h 5"/>
              <a:gd name="T16" fmla="*/ 5 w 5"/>
              <a:gd name="T17" fmla="*/ 5 h 5"/>
              <a:gd name="T18" fmla="*/ 0 w 5"/>
              <a:gd name="T19" fmla="*/ 0 h 5"/>
              <a:gd name="T20" fmla="*/ 0 w 5"/>
              <a:gd name="T21" fmla="*/ 0 h 5"/>
              <a:gd name="T22" fmla="*/ 3 w 5"/>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5">
                <a:moveTo>
                  <a:pt x="3" y="0"/>
                </a:moveTo>
                <a:lnTo>
                  <a:pt x="5" y="0"/>
                </a:lnTo>
                <a:lnTo>
                  <a:pt x="5" y="0"/>
                </a:lnTo>
                <a:lnTo>
                  <a:pt x="5" y="0"/>
                </a:lnTo>
                <a:lnTo>
                  <a:pt x="5" y="0"/>
                </a:lnTo>
                <a:lnTo>
                  <a:pt x="5" y="2"/>
                </a:lnTo>
                <a:lnTo>
                  <a:pt x="5" y="3"/>
                </a:lnTo>
                <a:lnTo>
                  <a:pt x="5" y="5"/>
                </a:lnTo>
                <a:lnTo>
                  <a:pt x="5" y="5"/>
                </a:lnTo>
                <a:lnTo>
                  <a:pt x="0" y="0"/>
                </a:lnTo>
                <a:lnTo>
                  <a:pt x="0" y="0"/>
                </a:lnTo>
                <a:lnTo>
                  <a:pt x="3"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03" name="iṧḻiḋe">
            <a:extLst>
              <a:ext uri="{FF2B5EF4-FFF2-40B4-BE49-F238E27FC236}">
                <a16:creationId xmlns:a16="http://schemas.microsoft.com/office/drawing/2014/main" id="{EE96A7C9-874D-4AC7-9E50-C96020380545}"/>
              </a:ext>
            </a:extLst>
          </p:cNvPr>
          <p:cNvSpPr/>
          <p:nvPr/>
        </p:nvSpPr>
        <p:spPr bwMode="auto">
          <a:xfrm>
            <a:off x="11838364" y="6742709"/>
            <a:ext cx="26605" cy="13303"/>
          </a:xfrm>
          <a:custGeom>
            <a:avLst/>
            <a:gdLst>
              <a:gd name="T0" fmla="*/ 3 w 6"/>
              <a:gd name="T1" fmla="*/ 0 h 3"/>
              <a:gd name="T2" fmla="*/ 5 w 6"/>
              <a:gd name="T3" fmla="*/ 0 h 3"/>
              <a:gd name="T4" fmla="*/ 6 w 6"/>
              <a:gd name="T5" fmla="*/ 0 h 3"/>
              <a:gd name="T6" fmla="*/ 6 w 6"/>
              <a:gd name="T7" fmla="*/ 0 h 3"/>
              <a:gd name="T8" fmla="*/ 5 w 6"/>
              <a:gd name="T9" fmla="*/ 1 h 3"/>
              <a:gd name="T10" fmla="*/ 5 w 6"/>
              <a:gd name="T11" fmla="*/ 3 h 3"/>
              <a:gd name="T12" fmla="*/ 5 w 6"/>
              <a:gd name="T13" fmla="*/ 3 h 3"/>
              <a:gd name="T14" fmla="*/ 0 w 6"/>
              <a:gd name="T15" fmla="*/ 0 h 3"/>
              <a:gd name="T16" fmla="*/ 0 w 6"/>
              <a:gd name="T17" fmla="*/ 0 h 3"/>
              <a:gd name="T18" fmla="*/ 3 w 6"/>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3" y="0"/>
                </a:moveTo>
                <a:lnTo>
                  <a:pt x="5" y="0"/>
                </a:lnTo>
                <a:lnTo>
                  <a:pt x="6" y="0"/>
                </a:lnTo>
                <a:lnTo>
                  <a:pt x="6" y="0"/>
                </a:lnTo>
                <a:lnTo>
                  <a:pt x="5" y="1"/>
                </a:lnTo>
                <a:lnTo>
                  <a:pt x="5" y="3"/>
                </a:lnTo>
                <a:lnTo>
                  <a:pt x="5" y="3"/>
                </a:lnTo>
                <a:lnTo>
                  <a:pt x="0" y="0"/>
                </a:lnTo>
                <a:lnTo>
                  <a:pt x="0" y="0"/>
                </a:lnTo>
                <a:lnTo>
                  <a:pt x="3"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04" name="íṡľïḓé">
            <a:extLst>
              <a:ext uri="{FF2B5EF4-FFF2-40B4-BE49-F238E27FC236}">
                <a16:creationId xmlns:a16="http://schemas.microsoft.com/office/drawing/2014/main" id="{6D29A892-B714-488E-B927-068929742BA6}"/>
              </a:ext>
            </a:extLst>
          </p:cNvPr>
          <p:cNvSpPr/>
          <p:nvPr/>
        </p:nvSpPr>
        <p:spPr bwMode="auto">
          <a:xfrm>
            <a:off x="11674296" y="6702801"/>
            <a:ext cx="26605" cy="22171"/>
          </a:xfrm>
          <a:custGeom>
            <a:avLst/>
            <a:gdLst>
              <a:gd name="T0" fmla="*/ 6 w 6"/>
              <a:gd name="T1" fmla="*/ 5 h 5"/>
              <a:gd name="T2" fmla="*/ 6 w 6"/>
              <a:gd name="T3" fmla="*/ 5 h 5"/>
              <a:gd name="T4" fmla="*/ 4 w 6"/>
              <a:gd name="T5" fmla="*/ 5 h 5"/>
              <a:gd name="T6" fmla="*/ 1 w 6"/>
              <a:gd name="T7" fmla="*/ 5 h 5"/>
              <a:gd name="T8" fmla="*/ 0 w 6"/>
              <a:gd name="T9" fmla="*/ 5 h 5"/>
              <a:gd name="T10" fmla="*/ 1 w 6"/>
              <a:gd name="T11" fmla="*/ 5 h 5"/>
              <a:gd name="T12" fmla="*/ 1 w 6"/>
              <a:gd name="T13" fmla="*/ 4 h 5"/>
              <a:gd name="T14" fmla="*/ 1 w 6"/>
              <a:gd name="T15" fmla="*/ 2 h 5"/>
              <a:gd name="T16" fmla="*/ 3 w 6"/>
              <a:gd name="T17" fmla="*/ 0 h 5"/>
              <a:gd name="T18" fmla="*/ 3 w 6"/>
              <a:gd name="T19" fmla="*/ 0 h 5"/>
              <a:gd name="T20" fmla="*/ 3 w 6"/>
              <a:gd name="T21" fmla="*/ 2 h 5"/>
              <a:gd name="T22" fmla="*/ 6 w 6"/>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6" y="5"/>
                </a:moveTo>
                <a:lnTo>
                  <a:pt x="6" y="5"/>
                </a:lnTo>
                <a:lnTo>
                  <a:pt x="4" y="5"/>
                </a:lnTo>
                <a:lnTo>
                  <a:pt x="1" y="5"/>
                </a:lnTo>
                <a:lnTo>
                  <a:pt x="0" y="5"/>
                </a:lnTo>
                <a:lnTo>
                  <a:pt x="1" y="5"/>
                </a:lnTo>
                <a:lnTo>
                  <a:pt x="1" y="4"/>
                </a:lnTo>
                <a:lnTo>
                  <a:pt x="1" y="2"/>
                </a:lnTo>
                <a:lnTo>
                  <a:pt x="3" y="0"/>
                </a:lnTo>
                <a:lnTo>
                  <a:pt x="3" y="0"/>
                </a:lnTo>
                <a:lnTo>
                  <a:pt x="3" y="2"/>
                </a:lnTo>
                <a:lnTo>
                  <a:pt x="6" y="5"/>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05" name="îŝľiďé">
            <a:extLst>
              <a:ext uri="{FF2B5EF4-FFF2-40B4-BE49-F238E27FC236}">
                <a16:creationId xmlns:a16="http://schemas.microsoft.com/office/drawing/2014/main" id="{74B37953-9589-4661-94A7-06E2EC94EE00}"/>
              </a:ext>
            </a:extLst>
          </p:cNvPr>
          <p:cNvSpPr/>
          <p:nvPr/>
        </p:nvSpPr>
        <p:spPr bwMode="auto">
          <a:xfrm>
            <a:off x="11607783" y="6756012"/>
            <a:ext cx="13303" cy="35474"/>
          </a:xfrm>
          <a:custGeom>
            <a:avLst/>
            <a:gdLst>
              <a:gd name="T0" fmla="*/ 3 w 3"/>
              <a:gd name="T1" fmla="*/ 3 h 8"/>
              <a:gd name="T2" fmla="*/ 3 w 3"/>
              <a:gd name="T3" fmla="*/ 3 h 8"/>
              <a:gd name="T4" fmla="*/ 3 w 3"/>
              <a:gd name="T5" fmla="*/ 3 h 8"/>
              <a:gd name="T6" fmla="*/ 2 w 3"/>
              <a:gd name="T7" fmla="*/ 5 h 8"/>
              <a:gd name="T8" fmla="*/ 0 w 3"/>
              <a:gd name="T9" fmla="*/ 6 h 8"/>
              <a:gd name="T10" fmla="*/ 0 w 3"/>
              <a:gd name="T11" fmla="*/ 8 h 8"/>
              <a:gd name="T12" fmla="*/ 0 w 3"/>
              <a:gd name="T13" fmla="*/ 6 h 8"/>
              <a:gd name="T14" fmla="*/ 0 w 3"/>
              <a:gd name="T15" fmla="*/ 5 h 8"/>
              <a:gd name="T16" fmla="*/ 0 w 3"/>
              <a:gd name="T17" fmla="*/ 1 h 8"/>
              <a:gd name="T18" fmla="*/ 0 w 3"/>
              <a:gd name="T19" fmla="*/ 1 h 8"/>
              <a:gd name="T20" fmla="*/ 0 w 3"/>
              <a:gd name="T21" fmla="*/ 0 h 8"/>
              <a:gd name="T22" fmla="*/ 0 w 3"/>
              <a:gd name="T23" fmla="*/ 0 h 8"/>
              <a:gd name="T24" fmla="*/ 2 w 3"/>
              <a:gd name="T25" fmla="*/ 0 h 8"/>
              <a:gd name="T26" fmla="*/ 3 w 3"/>
              <a:gd name="T2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3" y="3"/>
                </a:moveTo>
                <a:lnTo>
                  <a:pt x="3" y="3"/>
                </a:lnTo>
                <a:lnTo>
                  <a:pt x="3" y="3"/>
                </a:lnTo>
                <a:lnTo>
                  <a:pt x="2" y="5"/>
                </a:lnTo>
                <a:lnTo>
                  <a:pt x="0" y="6"/>
                </a:lnTo>
                <a:lnTo>
                  <a:pt x="0" y="8"/>
                </a:lnTo>
                <a:lnTo>
                  <a:pt x="0" y="6"/>
                </a:lnTo>
                <a:lnTo>
                  <a:pt x="0" y="5"/>
                </a:lnTo>
                <a:lnTo>
                  <a:pt x="0" y="1"/>
                </a:lnTo>
                <a:lnTo>
                  <a:pt x="0" y="1"/>
                </a:lnTo>
                <a:lnTo>
                  <a:pt x="0" y="0"/>
                </a:lnTo>
                <a:lnTo>
                  <a:pt x="0" y="0"/>
                </a:lnTo>
                <a:lnTo>
                  <a:pt x="2" y="0"/>
                </a:lnTo>
                <a:lnTo>
                  <a:pt x="3" y="3"/>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06" name="îṣliḍê">
            <a:extLst>
              <a:ext uri="{FF2B5EF4-FFF2-40B4-BE49-F238E27FC236}">
                <a16:creationId xmlns:a16="http://schemas.microsoft.com/office/drawing/2014/main" id="{BCCEF7B2-FAE7-4CA9-A722-55CD37F7D201}"/>
              </a:ext>
            </a:extLst>
          </p:cNvPr>
          <p:cNvSpPr/>
          <p:nvPr/>
        </p:nvSpPr>
        <p:spPr bwMode="auto">
          <a:xfrm>
            <a:off x="11607783" y="6782618"/>
            <a:ext cx="35474" cy="22171"/>
          </a:xfrm>
          <a:custGeom>
            <a:avLst/>
            <a:gdLst>
              <a:gd name="T0" fmla="*/ 8 w 8"/>
              <a:gd name="T1" fmla="*/ 5 h 5"/>
              <a:gd name="T2" fmla="*/ 8 w 8"/>
              <a:gd name="T3" fmla="*/ 5 h 5"/>
              <a:gd name="T4" fmla="*/ 5 w 8"/>
              <a:gd name="T5" fmla="*/ 5 h 5"/>
              <a:gd name="T6" fmla="*/ 3 w 8"/>
              <a:gd name="T7" fmla="*/ 5 h 5"/>
              <a:gd name="T8" fmla="*/ 2 w 8"/>
              <a:gd name="T9" fmla="*/ 5 h 5"/>
              <a:gd name="T10" fmla="*/ 2 w 8"/>
              <a:gd name="T11" fmla="*/ 5 h 5"/>
              <a:gd name="T12" fmla="*/ 0 w 8"/>
              <a:gd name="T13" fmla="*/ 5 h 5"/>
              <a:gd name="T14" fmla="*/ 0 w 8"/>
              <a:gd name="T15" fmla="*/ 5 h 5"/>
              <a:gd name="T16" fmla="*/ 2 w 8"/>
              <a:gd name="T17" fmla="*/ 4 h 5"/>
              <a:gd name="T18" fmla="*/ 2 w 8"/>
              <a:gd name="T19" fmla="*/ 4 h 5"/>
              <a:gd name="T20" fmla="*/ 2 w 8"/>
              <a:gd name="T21" fmla="*/ 4 h 5"/>
              <a:gd name="T22" fmla="*/ 3 w 8"/>
              <a:gd name="T23" fmla="*/ 2 h 5"/>
              <a:gd name="T24" fmla="*/ 5 w 8"/>
              <a:gd name="T25" fmla="*/ 0 h 5"/>
              <a:gd name="T26" fmla="*/ 5 w 8"/>
              <a:gd name="T27" fmla="*/ 0 h 5"/>
              <a:gd name="T28" fmla="*/ 5 w 8"/>
              <a:gd name="T29" fmla="*/ 0 h 5"/>
              <a:gd name="T30" fmla="*/ 8 w 8"/>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5">
                <a:moveTo>
                  <a:pt x="8" y="5"/>
                </a:moveTo>
                <a:lnTo>
                  <a:pt x="8" y="5"/>
                </a:lnTo>
                <a:lnTo>
                  <a:pt x="5" y="5"/>
                </a:lnTo>
                <a:lnTo>
                  <a:pt x="3" y="5"/>
                </a:lnTo>
                <a:lnTo>
                  <a:pt x="2" y="5"/>
                </a:lnTo>
                <a:lnTo>
                  <a:pt x="2" y="5"/>
                </a:lnTo>
                <a:lnTo>
                  <a:pt x="0" y="5"/>
                </a:lnTo>
                <a:lnTo>
                  <a:pt x="0" y="5"/>
                </a:lnTo>
                <a:lnTo>
                  <a:pt x="2" y="4"/>
                </a:lnTo>
                <a:lnTo>
                  <a:pt x="2" y="4"/>
                </a:lnTo>
                <a:lnTo>
                  <a:pt x="2" y="4"/>
                </a:lnTo>
                <a:lnTo>
                  <a:pt x="3" y="2"/>
                </a:lnTo>
                <a:lnTo>
                  <a:pt x="5" y="0"/>
                </a:lnTo>
                <a:lnTo>
                  <a:pt x="5" y="0"/>
                </a:lnTo>
                <a:lnTo>
                  <a:pt x="5" y="0"/>
                </a:lnTo>
                <a:lnTo>
                  <a:pt x="8" y="5"/>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07" name="ïś1íḑè">
            <a:extLst>
              <a:ext uri="{FF2B5EF4-FFF2-40B4-BE49-F238E27FC236}">
                <a16:creationId xmlns:a16="http://schemas.microsoft.com/office/drawing/2014/main" id="{4F0BF2C4-7C49-4183-9B6D-A45ED48AF3D8}"/>
              </a:ext>
            </a:extLst>
          </p:cNvPr>
          <p:cNvSpPr/>
          <p:nvPr/>
        </p:nvSpPr>
        <p:spPr bwMode="auto">
          <a:xfrm>
            <a:off x="11550137" y="6782618"/>
            <a:ext cx="35474" cy="22171"/>
          </a:xfrm>
          <a:custGeom>
            <a:avLst/>
            <a:gdLst>
              <a:gd name="T0" fmla="*/ 6 w 8"/>
              <a:gd name="T1" fmla="*/ 5 h 5"/>
              <a:gd name="T2" fmla="*/ 8 w 8"/>
              <a:gd name="T3" fmla="*/ 5 h 5"/>
              <a:gd name="T4" fmla="*/ 6 w 8"/>
              <a:gd name="T5" fmla="*/ 5 h 5"/>
              <a:gd name="T6" fmla="*/ 5 w 8"/>
              <a:gd name="T7" fmla="*/ 5 h 5"/>
              <a:gd name="T8" fmla="*/ 2 w 8"/>
              <a:gd name="T9" fmla="*/ 5 h 5"/>
              <a:gd name="T10" fmla="*/ 0 w 8"/>
              <a:gd name="T11" fmla="*/ 5 h 5"/>
              <a:gd name="T12" fmla="*/ 0 w 8"/>
              <a:gd name="T13" fmla="*/ 5 h 5"/>
              <a:gd name="T14" fmla="*/ 0 w 8"/>
              <a:gd name="T15" fmla="*/ 5 h 5"/>
              <a:gd name="T16" fmla="*/ 0 w 8"/>
              <a:gd name="T17" fmla="*/ 4 h 5"/>
              <a:gd name="T18" fmla="*/ 2 w 8"/>
              <a:gd name="T19" fmla="*/ 2 h 5"/>
              <a:gd name="T20" fmla="*/ 3 w 8"/>
              <a:gd name="T21" fmla="*/ 2 h 5"/>
              <a:gd name="T22" fmla="*/ 3 w 8"/>
              <a:gd name="T23" fmla="*/ 0 h 5"/>
              <a:gd name="T24" fmla="*/ 3 w 8"/>
              <a:gd name="T25" fmla="*/ 0 h 5"/>
              <a:gd name="T26" fmla="*/ 5 w 8"/>
              <a:gd name="T27" fmla="*/ 0 h 5"/>
              <a:gd name="T28" fmla="*/ 6 w 8"/>
              <a:gd name="T29" fmla="*/ 2 h 5"/>
              <a:gd name="T30" fmla="*/ 6 w 8"/>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5">
                <a:moveTo>
                  <a:pt x="6" y="5"/>
                </a:moveTo>
                <a:lnTo>
                  <a:pt x="8" y="5"/>
                </a:lnTo>
                <a:lnTo>
                  <a:pt x="6" y="5"/>
                </a:lnTo>
                <a:lnTo>
                  <a:pt x="5" y="5"/>
                </a:lnTo>
                <a:lnTo>
                  <a:pt x="2" y="5"/>
                </a:lnTo>
                <a:lnTo>
                  <a:pt x="0" y="5"/>
                </a:lnTo>
                <a:lnTo>
                  <a:pt x="0" y="5"/>
                </a:lnTo>
                <a:lnTo>
                  <a:pt x="0" y="5"/>
                </a:lnTo>
                <a:lnTo>
                  <a:pt x="0" y="4"/>
                </a:lnTo>
                <a:lnTo>
                  <a:pt x="2" y="2"/>
                </a:lnTo>
                <a:lnTo>
                  <a:pt x="3" y="2"/>
                </a:lnTo>
                <a:lnTo>
                  <a:pt x="3" y="0"/>
                </a:lnTo>
                <a:lnTo>
                  <a:pt x="3" y="0"/>
                </a:lnTo>
                <a:lnTo>
                  <a:pt x="5" y="0"/>
                </a:lnTo>
                <a:lnTo>
                  <a:pt x="6" y="2"/>
                </a:lnTo>
                <a:lnTo>
                  <a:pt x="6" y="5"/>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08" name="isļíḑé">
            <a:extLst>
              <a:ext uri="{FF2B5EF4-FFF2-40B4-BE49-F238E27FC236}">
                <a16:creationId xmlns:a16="http://schemas.microsoft.com/office/drawing/2014/main" id="{FACE743F-4965-4844-9A60-65D5E090B970}"/>
              </a:ext>
            </a:extLst>
          </p:cNvPr>
          <p:cNvSpPr/>
          <p:nvPr/>
        </p:nvSpPr>
        <p:spPr bwMode="auto">
          <a:xfrm>
            <a:off x="11425978" y="6756012"/>
            <a:ext cx="22171" cy="35474"/>
          </a:xfrm>
          <a:custGeom>
            <a:avLst/>
            <a:gdLst>
              <a:gd name="T0" fmla="*/ 0 w 5"/>
              <a:gd name="T1" fmla="*/ 6 h 8"/>
              <a:gd name="T2" fmla="*/ 4 w 5"/>
              <a:gd name="T3" fmla="*/ 1 h 8"/>
              <a:gd name="T4" fmla="*/ 4 w 5"/>
              <a:gd name="T5" fmla="*/ 1 h 8"/>
              <a:gd name="T6" fmla="*/ 4 w 5"/>
              <a:gd name="T7" fmla="*/ 0 h 8"/>
              <a:gd name="T8" fmla="*/ 5 w 5"/>
              <a:gd name="T9" fmla="*/ 1 h 8"/>
              <a:gd name="T10" fmla="*/ 5 w 5"/>
              <a:gd name="T11" fmla="*/ 3 h 8"/>
              <a:gd name="T12" fmla="*/ 5 w 5"/>
              <a:gd name="T13" fmla="*/ 3 h 8"/>
              <a:gd name="T14" fmla="*/ 0 w 5"/>
              <a:gd name="T15" fmla="*/ 6 h 8"/>
              <a:gd name="T16" fmla="*/ 0 w 5"/>
              <a:gd name="T17" fmla="*/ 8 h 8"/>
              <a:gd name="T18" fmla="*/ 0 w 5"/>
              <a:gd name="T19"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8">
                <a:moveTo>
                  <a:pt x="0" y="6"/>
                </a:moveTo>
                <a:lnTo>
                  <a:pt x="4" y="1"/>
                </a:lnTo>
                <a:lnTo>
                  <a:pt x="4" y="1"/>
                </a:lnTo>
                <a:lnTo>
                  <a:pt x="4" y="0"/>
                </a:lnTo>
                <a:lnTo>
                  <a:pt x="5" y="1"/>
                </a:lnTo>
                <a:lnTo>
                  <a:pt x="5" y="3"/>
                </a:lnTo>
                <a:lnTo>
                  <a:pt x="5" y="3"/>
                </a:lnTo>
                <a:lnTo>
                  <a:pt x="0" y="6"/>
                </a:lnTo>
                <a:lnTo>
                  <a:pt x="0" y="8"/>
                </a:lnTo>
                <a:lnTo>
                  <a:pt x="0" y="6"/>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09" name="iŝļïḍe">
            <a:extLst>
              <a:ext uri="{FF2B5EF4-FFF2-40B4-BE49-F238E27FC236}">
                <a16:creationId xmlns:a16="http://schemas.microsoft.com/office/drawing/2014/main" id="{07E829BB-973D-4CFF-8CAC-59C7EADD6E0D}"/>
              </a:ext>
            </a:extLst>
          </p:cNvPr>
          <p:cNvSpPr/>
          <p:nvPr/>
        </p:nvSpPr>
        <p:spPr bwMode="auto">
          <a:xfrm>
            <a:off x="11461452" y="6760446"/>
            <a:ext cx="22171" cy="31040"/>
          </a:xfrm>
          <a:custGeom>
            <a:avLst/>
            <a:gdLst>
              <a:gd name="T0" fmla="*/ 0 w 5"/>
              <a:gd name="T1" fmla="*/ 4 h 7"/>
              <a:gd name="T2" fmla="*/ 2 w 5"/>
              <a:gd name="T3" fmla="*/ 2 h 7"/>
              <a:gd name="T4" fmla="*/ 4 w 5"/>
              <a:gd name="T5" fmla="*/ 0 h 7"/>
              <a:gd name="T6" fmla="*/ 4 w 5"/>
              <a:gd name="T7" fmla="*/ 0 h 7"/>
              <a:gd name="T8" fmla="*/ 4 w 5"/>
              <a:gd name="T9" fmla="*/ 0 h 7"/>
              <a:gd name="T10" fmla="*/ 5 w 5"/>
              <a:gd name="T11" fmla="*/ 0 h 7"/>
              <a:gd name="T12" fmla="*/ 4 w 5"/>
              <a:gd name="T13" fmla="*/ 0 h 7"/>
              <a:gd name="T14" fmla="*/ 4 w 5"/>
              <a:gd name="T15" fmla="*/ 2 h 7"/>
              <a:gd name="T16" fmla="*/ 4 w 5"/>
              <a:gd name="T17" fmla="*/ 2 h 7"/>
              <a:gd name="T18" fmla="*/ 4 w 5"/>
              <a:gd name="T19" fmla="*/ 4 h 7"/>
              <a:gd name="T20" fmla="*/ 2 w 5"/>
              <a:gd name="T21" fmla="*/ 5 h 7"/>
              <a:gd name="T22" fmla="*/ 2 w 5"/>
              <a:gd name="T23" fmla="*/ 7 h 7"/>
              <a:gd name="T24" fmla="*/ 2 w 5"/>
              <a:gd name="T25" fmla="*/ 7 h 7"/>
              <a:gd name="T26" fmla="*/ 0 w 5"/>
              <a:gd name="T27" fmla="*/ 7 h 7"/>
              <a:gd name="T28" fmla="*/ 0 w 5"/>
              <a:gd name="T29" fmla="*/ 4 h 7"/>
              <a:gd name="T30" fmla="*/ 0 w 5"/>
              <a:gd name="T31"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 h="7">
                <a:moveTo>
                  <a:pt x="0" y="4"/>
                </a:moveTo>
                <a:lnTo>
                  <a:pt x="2" y="2"/>
                </a:lnTo>
                <a:lnTo>
                  <a:pt x="4" y="0"/>
                </a:lnTo>
                <a:lnTo>
                  <a:pt x="4" y="0"/>
                </a:lnTo>
                <a:lnTo>
                  <a:pt x="4" y="0"/>
                </a:lnTo>
                <a:lnTo>
                  <a:pt x="5" y="0"/>
                </a:lnTo>
                <a:lnTo>
                  <a:pt x="4" y="0"/>
                </a:lnTo>
                <a:lnTo>
                  <a:pt x="4" y="2"/>
                </a:lnTo>
                <a:lnTo>
                  <a:pt x="4" y="2"/>
                </a:lnTo>
                <a:lnTo>
                  <a:pt x="4" y="4"/>
                </a:lnTo>
                <a:lnTo>
                  <a:pt x="2" y="5"/>
                </a:lnTo>
                <a:lnTo>
                  <a:pt x="2" y="7"/>
                </a:lnTo>
                <a:lnTo>
                  <a:pt x="2" y="7"/>
                </a:lnTo>
                <a:lnTo>
                  <a:pt x="0" y="7"/>
                </a:lnTo>
                <a:lnTo>
                  <a:pt x="0" y="4"/>
                </a:lnTo>
                <a:lnTo>
                  <a:pt x="0" y="4"/>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10" name="îṩļiďe">
            <a:extLst>
              <a:ext uri="{FF2B5EF4-FFF2-40B4-BE49-F238E27FC236}">
                <a16:creationId xmlns:a16="http://schemas.microsoft.com/office/drawing/2014/main" id="{93CAE06E-D9B8-412B-97A2-C2233771C2C3}"/>
              </a:ext>
            </a:extLst>
          </p:cNvPr>
          <p:cNvSpPr/>
          <p:nvPr/>
        </p:nvSpPr>
        <p:spPr bwMode="auto">
          <a:xfrm>
            <a:off x="11483623" y="6756012"/>
            <a:ext cx="22171" cy="35474"/>
          </a:xfrm>
          <a:custGeom>
            <a:avLst/>
            <a:gdLst>
              <a:gd name="T0" fmla="*/ 4 w 5"/>
              <a:gd name="T1" fmla="*/ 1 h 8"/>
              <a:gd name="T2" fmla="*/ 4 w 5"/>
              <a:gd name="T3" fmla="*/ 0 h 8"/>
              <a:gd name="T4" fmla="*/ 4 w 5"/>
              <a:gd name="T5" fmla="*/ 0 h 8"/>
              <a:gd name="T6" fmla="*/ 5 w 5"/>
              <a:gd name="T7" fmla="*/ 1 h 8"/>
              <a:gd name="T8" fmla="*/ 5 w 5"/>
              <a:gd name="T9" fmla="*/ 3 h 8"/>
              <a:gd name="T10" fmla="*/ 5 w 5"/>
              <a:gd name="T11" fmla="*/ 3 h 8"/>
              <a:gd name="T12" fmla="*/ 5 w 5"/>
              <a:gd name="T13" fmla="*/ 3 h 8"/>
              <a:gd name="T14" fmla="*/ 4 w 5"/>
              <a:gd name="T15" fmla="*/ 5 h 8"/>
              <a:gd name="T16" fmla="*/ 2 w 5"/>
              <a:gd name="T17" fmla="*/ 6 h 8"/>
              <a:gd name="T18" fmla="*/ 2 w 5"/>
              <a:gd name="T19" fmla="*/ 6 h 8"/>
              <a:gd name="T20" fmla="*/ 0 w 5"/>
              <a:gd name="T21" fmla="*/ 6 h 8"/>
              <a:gd name="T22" fmla="*/ 0 w 5"/>
              <a:gd name="T23" fmla="*/ 8 h 8"/>
              <a:gd name="T24" fmla="*/ 0 w 5"/>
              <a:gd name="T25" fmla="*/ 6 h 8"/>
              <a:gd name="T26" fmla="*/ 2 w 5"/>
              <a:gd name="T27" fmla="*/ 5 h 8"/>
              <a:gd name="T28" fmla="*/ 2 w 5"/>
              <a:gd name="T29" fmla="*/ 5 h 8"/>
              <a:gd name="T30" fmla="*/ 2 w 5"/>
              <a:gd name="T31" fmla="*/ 3 h 8"/>
              <a:gd name="T32" fmla="*/ 2 w 5"/>
              <a:gd name="T33" fmla="*/ 1 h 8"/>
              <a:gd name="T34" fmla="*/ 4 w 5"/>
              <a:gd name="T35"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8">
                <a:moveTo>
                  <a:pt x="4" y="1"/>
                </a:moveTo>
                <a:lnTo>
                  <a:pt x="4" y="0"/>
                </a:lnTo>
                <a:lnTo>
                  <a:pt x="4" y="0"/>
                </a:lnTo>
                <a:lnTo>
                  <a:pt x="5" y="1"/>
                </a:lnTo>
                <a:lnTo>
                  <a:pt x="5" y="3"/>
                </a:lnTo>
                <a:lnTo>
                  <a:pt x="5" y="3"/>
                </a:lnTo>
                <a:lnTo>
                  <a:pt x="5" y="3"/>
                </a:lnTo>
                <a:lnTo>
                  <a:pt x="4" y="5"/>
                </a:lnTo>
                <a:lnTo>
                  <a:pt x="2" y="6"/>
                </a:lnTo>
                <a:lnTo>
                  <a:pt x="2" y="6"/>
                </a:lnTo>
                <a:lnTo>
                  <a:pt x="0" y="6"/>
                </a:lnTo>
                <a:lnTo>
                  <a:pt x="0" y="8"/>
                </a:lnTo>
                <a:lnTo>
                  <a:pt x="0" y="6"/>
                </a:lnTo>
                <a:lnTo>
                  <a:pt x="2" y="5"/>
                </a:lnTo>
                <a:lnTo>
                  <a:pt x="2" y="5"/>
                </a:lnTo>
                <a:lnTo>
                  <a:pt x="2" y="3"/>
                </a:lnTo>
                <a:lnTo>
                  <a:pt x="2" y="1"/>
                </a:lnTo>
                <a:lnTo>
                  <a:pt x="4" y="1"/>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11" name="íşļîďe">
            <a:extLst>
              <a:ext uri="{FF2B5EF4-FFF2-40B4-BE49-F238E27FC236}">
                <a16:creationId xmlns:a16="http://schemas.microsoft.com/office/drawing/2014/main" id="{FC8E14E4-61D8-4760-8196-18E1B79D0BD9}"/>
              </a:ext>
            </a:extLst>
          </p:cNvPr>
          <p:cNvSpPr/>
          <p:nvPr/>
        </p:nvSpPr>
        <p:spPr bwMode="auto">
          <a:xfrm>
            <a:off x="11519097" y="6756012"/>
            <a:ext cx="22171" cy="35474"/>
          </a:xfrm>
          <a:custGeom>
            <a:avLst/>
            <a:gdLst>
              <a:gd name="T0" fmla="*/ 2 w 5"/>
              <a:gd name="T1" fmla="*/ 1 h 8"/>
              <a:gd name="T2" fmla="*/ 4 w 5"/>
              <a:gd name="T3" fmla="*/ 1 h 8"/>
              <a:gd name="T4" fmla="*/ 4 w 5"/>
              <a:gd name="T5" fmla="*/ 1 h 8"/>
              <a:gd name="T6" fmla="*/ 4 w 5"/>
              <a:gd name="T7" fmla="*/ 0 h 8"/>
              <a:gd name="T8" fmla="*/ 5 w 5"/>
              <a:gd name="T9" fmla="*/ 0 h 8"/>
              <a:gd name="T10" fmla="*/ 5 w 5"/>
              <a:gd name="T11" fmla="*/ 0 h 8"/>
              <a:gd name="T12" fmla="*/ 4 w 5"/>
              <a:gd name="T13" fmla="*/ 1 h 8"/>
              <a:gd name="T14" fmla="*/ 4 w 5"/>
              <a:gd name="T15" fmla="*/ 3 h 8"/>
              <a:gd name="T16" fmla="*/ 4 w 5"/>
              <a:gd name="T17" fmla="*/ 3 h 8"/>
              <a:gd name="T18" fmla="*/ 4 w 5"/>
              <a:gd name="T19" fmla="*/ 6 h 8"/>
              <a:gd name="T20" fmla="*/ 2 w 5"/>
              <a:gd name="T21" fmla="*/ 8 h 8"/>
              <a:gd name="T22" fmla="*/ 2 w 5"/>
              <a:gd name="T23" fmla="*/ 8 h 8"/>
              <a:gd name="T24" fmla="*/ 2 w 5"/>
              <a:gd name="T25" fmla="*/ 8 h 8"/>
              <a:gd name="T26" fmla="*/ 2 w 5"/>
              <a:gd name="T27" fmla="*/ 8 h 8"/>
              <a:gd name="T28" fmla="*/ 2 w 5"/>
              <a:gd name="T29" fmla="*/ 6 h 8"/>
              <a:gd name="T30" fmla="*/ 0 w 5"/>
              <a:gd name="T31" fmla="*/ 5 h 8"/>
              <a:gd name="T32" fmla="*/ 0 w 5"/>
              <a:gd name="T33" fmla="*/ 3 h 8"/>
              <a:gd name="T34" fmla="*/ 2 w 5"/>
              <a:gd name="T35"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8">
                <a:moveTo>
                  <a:pt x="2" y="1"/>
                </a:moveTo>
                <a:lnTo>
                  <a:pt x="4" y="1"/>
                </a:lnTo>
                <a:lnTo>
                  <a:pt x="4" y="1"/>
                </a:lnTo>
                <a:lnTo>
                  <a:pt x="4" y="0"/>
                </a:lnTo>
                <a:lnTo>
                  <a:pt x="5" y="0"/>
                </a:lnTo>
                <a:lnTo>
                  <a:pt x="5" y="0"/>
                </a:lnTo>
                <a:lnTo>
                  <a:pt x="4" y="1"/>
                </a:lnTo>
                <a:lnTo>
                  <a:pt x="4" y="3"/>
                </a:lnTo>
                <a:lnTo>
                  <a:pt x="4" y="3"/>
                </a:lnTo>
                <a:lnTo>
                  <a:pt x="4" y="6"/>
                </a:lnTo>
                <a:lnTo>
                  <a:pt x="2" y="8"/>
                </a:lnTo>
                <a:lnTo>
                  <a:pt x="2" y="8"/>
                </a:lnTo>
                <a:lnTo>
                  <a:pt x="2" y="8"/>
                </a:lnTo>
                <a:lnTo>
                  <a:pt x="2" y="8"/>
                </a:lnTo>
                <a:lnTo>
                  <a:pt x="2" y="6"/>
                </a:lnTo>
                <a:lnTo>
                  <a:pt x="0" y="5"/>
                </a:lnTo>
                <a:lnTo>
                  <a:pt x="0" y="3"/>
                </a:lnTo>
                <a:lnTo>
                  <a:pt x="2" y="1"/>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12" name="íSlïde">
            <a:extLst>
              <a:ext uri="{FF2B5EF4-FFF2-40B4-BE49-F238E27FC236}">
                <a16:creationId xmlns:a16="http://schemas.microsoft.com/office/drawing/2014/main" id="{092B5682-284A-4F9B-970D-5F9C64673946}"/>
              </a:ext>
            </a:extLst>
          </p:cNvPr>
          <p:cNvSpPr/>
          <p:nvPr/>
        </p:nvSpPr>
        <p:spPr bwMode="auto">
          <a:xfrm>
            <a:off x="11483623" y="6782618"/>
            <a:ext cx="35474" cy="22171"/>
          </a:xfrm>
          <a:custGeom>
            <a:avLst/>
            <a:gdLst>
              <a:gd name="T0" fmla="*/ 5 w 8"/>
              <a:gd name="T1" fmla="*/ 5 h 5"/>
              <a:gd name="T2" fmla="*/ 2 w 8"/>
              <a:gd name="T3" fmla="*/ 5 h 5"/>
              <a:gd name="T4" fmla="*/ 0 w 8"/>
              <a:gd name="T5" fmla="*/ 5 h 5"/>
              <a:gd name="T6" fmla="*/ 0 w 8"/>
              <a:gd name="T7" fmla="*/ 5 h 5"/>
              <a:gd name="T8" fmla="*/ 0 w 8"/>
              <a:gd name="T9" fmla="*/ 5 h 5"/>
              <a:gd name="T10" fmla="*/ 2 w 8"/>
              <a:gd name="T11" fmla="*/ 5 h 5"/>
              <a:gd name="T12" fmla="*/ 4 w 8"/>
              <a:gd name="T13" fmla="*/ 4 h 5"/>
              <a:gd name="T14" fmla="*/ 4 w 8"/>
              <a:gd name="T15" fmla="*/ 2 h 5"/>
              <a:gd name="T16" fmla="*/ 5 w 8"/>
              <a:gd name="T17" fmla="*/ 2 h 5"/>
              <a:gd name="T18" fmla="*/ 5 w 8"/>
              <a:gd name="T19" fmla="*/ 0 h 5"/>
              <a:gd name="T20" fmla="*/ 7 w 8"/>
              <a:gd name="T21" fmla="*/ 0 h 5"/>
              <a:gd name="T22" fmla="*/ 7 w 8"/>
              <a:gd name="T23" fmla="*/ 4 h 5"/>
              <a:gd name="T24" fmla="*/ 8 w 8"/>
              <a:gd name="T25" fmla="*/ 5 h 5"/>
              <a:gd name="T26" fmla="*/ 8 w 8"/>
              <a:gd name="T27" fmla="*/ 5 h 5"/>
              <a:gd name="T28" fmla="*/ 8 w 8"/>
              <a:gd name="T29" fmla="*/ 5 h 5"/>
              <a:gd name="T30" fmla="*/ 5 w 8"/>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5">
                <a:moveTo>
                  <a:pt x="5" y="5"/>
                </a:moveTo>
                <a:lnTo>
                  <a:pt x="2" y="5"/>
                </a:lnTo>
                <a:lnTo>
                  <a:pt x="0" y="5"/>
                </a:lnTo>
                <a:lnTo>
                  <a:pt x="0" y="5"/>
                </a:lnTo>
                <a:lnTo>
                  <a:pt x="0" y="5"/>
                </a:lnTo>
                <a:lnTo>
                  <a:pt x="2" y="5"/>
                </a:lnTo>
                <a:lnTo>
                  <a:pt x="4" y="4"/>
                </a:lnTo>
                <a:lnTo>
                  <a:pt x="4" y="2"/>
                </a:lnTo>
                <a:lnTo>
                  <a:pt x="5" y="2"/>
                </a:lnTo>
                <a:lnTo>
                  <a:pt x="5" y="0"/>
                </a:lnTo>
                <a:lnTo>
                  <a:pt x="7" y="0"/>
                </a:lnTo>
                <a:lnTo>
                  <a:pt x="7" y="4"/>
                </a:lnTo>
                <a:lnTo>
                  <a:pt x="8" y="5"/>
                </a:lnTo>
                <a:lnTo>
                  <a:pt x="8" y="5"/>
                </a:lnTo>
                <a:lnTo>
                  <a:pt x="8" y="5"/>
                </a:lnTo>
                <a:lnTo>
                  <a:pt x="5" y="5"/>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13" name="işḷiḓé">
            <a:extLst>
              <a:ext uri="{FF2B5EF4-FFF2-40B4-BE49-F238E27FC236}">
                <a16:creationId xmlns:a16="http://schemas.microsoft.com/office/drawing/2014/main" id="{2D8FB06D-7985-4363-B2F8-494F0C8216ED}"/>
              </a:ext>
            </a:extLst>
          </p:cNvPr>
          <p:cNvSpPr/>
          <p:nvPr/>
        </p:nvSpPr>
        <p:spPr bwMode="auto">
          <a:xfrm>
            <a:off x="11514663" y="6711669"/>
            <a:ext cx="26605" cy="13303"/>
          </a:xfrm>
          <a:custGeom>
            <a:avLst/>
            <a:gdLst>
              <a:gd name="T0" fmla="*/ 0 w 6"/>
              <a:gd name="T1" fmla="*/ 3 h 3"/>
              <a:gd name="T2" fmla="*/ 0 w 6"/>
              <a:gd name="T3" fmla="*/ 3 h 3"/>
              <a:gd name="T4" fmla="*/ 0 w 6"/>
              <a:gd name="T5" fmla="*/ 3 h 3"/>
              <a:gd name="T6" fmla="*/ 1 w 6"/>
              <a:gd name="T7" fmla="*/ 2 h 3"/>
              <a:gd name="T8" fmla="*/ 1 w 6"/>
              <a:gd name="T9" fmla="*/ 2 h 3"/>
              <a:gd name="T10" fmla="*/ 1 w 6"/>
              <a:gd name="T11" fmla="*/ 0 h 3"/>
              <a:gd name="T12" fmla="*/ 3 w 6"/>
              <a:gd name="T13" fmla="*/ 0 h 3"/>
              <a:gd name="T14" fmla="*/ 3 w 6"/>
              <a:gd name="T15" fmla="*/ 0 h 3"/>
              <a:gd name="T16" fmla="*/ 3 w 6"/>
              <a:gd name="T17" fmla="*/ 0 h 3"/>
              <a:gd name="T18" fmla="*/ 6 w 6"/>
              <a:gd name="T19" fmla="*/ 3 h 3"/>
              <a:gd name="T20" fmla="*/ 6 w 6"/>
              <a:gd name="T21" fmla="*/ 3 h 3"/>
              <a:gd name="T22" fmla="*/ 5 w 6"/>
              <a:gd name="T23" fmla="*/ 3 h 3"/>
              <a:gd name="T24" fmla="*/ 3 w 6"/>
              <a:gd name="T25" fmla="*/ 3 h 3"/>
              <a:gd name="T26" fmla="*/ 0 w 6"/>
              <a:gd name="T2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3">
                <a:moveTo>
                  <a:pt x="0" y="3"/>
                </a:moveTo>
                <a:lnTo>
                  <a:pt x="0" y="3"/>
                </a:lnTo>
                <a:lnTo>
                  <a:pt x="0" y="3"/>
                </a:lnTo>
                <a:lnTo>
                  <a:pt x="1" y="2"/>
                </a:lnTo>
                <a:lnTo>
                  <a:pt x="1" y="2"/>
                </a:lnTo>
                <a:lnTo>
                  <a:pt x="1" y="0"/>
                </a:lnTo>
                <a:lnTo>
                  <a:pt x="3" y="0"/>
                </a:lnTo>
                <a:lnTo>
                  <a:pt x="3" y="0"/>
                </a:lnTo>
                <a:lnTo>
                  <a:pt x="3" y="0"/>
                </a:lnTo>
                <a:lnTo>
                  <a:pt x="6" y="3"/>
                </a:lnTo>
                <a:lnTo>
                  <a:pt x="6" y="3"/>
                </a:lnTo>
                <a:lnTo>
                  <a:pt x="5" y="3"/>
                </a:lnTo>
                <a:lnTo>
                  <a:pt x="3" y="3"/>
                </a:lnTo>
                <a:lnTo>
                  <a:pt x="0" y="3"/>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14" name="i$lïḓe">
            <a:extLst>
              <a:ext uri="{FF2B5EF4-FFF2-40B4-BE49-F238E27FC236}">
                <a16:creationId xmlns:a16="http://schemas.microsoft.com/office/drawing/2014/main" id="{B4B89A1C-8027-4AF8-9CAE-5EA8C3783654}"/>
              </a:ext>
            </a:extLst>
          </p:cNvPr>
          <p:cNvSpPr/>
          <p:nvPr/>
        </p:nvSpPr>
        <p:spPr bwMode="auto">
          <a:xfrm>
            <a:off x="11576743" y="6756012"/>
            <a:ext cx="17737" cy="35474"/>
          </a:xfrm>
          <a:custGeom>
            <a:avLst/>
            <a:gdLst>
              <a:gd name="T0" fmla="*/ 0 w 4"/>
              <a:gd name="T1" fmla="*/ 3 h 8"/>
              <a:gd name="T2" fmla="*/ 0 w 4"/>
              <a:gd name="T3" fmla="*/ 3 h 8"/>
              <a:gd name="T4" fmla="*/ 2 w 4"/>
              <a:gd name="T5" fmla="*/ 3 h 8"/>
              <a:gd name="T6" fmla="*/ 2 w 4"/>
              <a:gd name="T7" fmla="*/ 3 h 8"/>
              <a:gd name="T8" fmla="*/ 4 w 4"/>
              <a:gd name="T9" fmla="*/ 1 h 8"/>
              <a:gd name="T10" fmla="*/ 4 w 4"/>
              <a:gd name="T11" fmla="*/ 0 h 8"/>
              <a:gd name="T12" fmla="*/ 4 w 4"/>
              <a:gd name="T13" fmla="*/ 1 h 8"/>
              <a:gd name="T14" fmla="*/ 4 w 4"/>
              <a:gd name="T15" fmla="*/ 5 h 8"/>
              <a:gd name="T16" fmla="*/ 4 w 4"/>
              <a:gd name="T17" fmla="*/ 5 h 8"/>
              <a:gd name="T18" fmla="*/ 4 w 4"/>
              <a:gd name="T19" fmla="*/ 6 h 8"/>
              <a:gd name="T20" fmla="*/ 4 w 4"/>
              <a:gd name="T21" fmla="*/ 6 h 8"/>
              <a:gd name="T22" fmla="*/ 4 w 4"/>
              <a:gd name="T23" fmla="*/ 8 h 8"/>
              <a:gd name="T24" fmla="*/ 2 w 4"/>
              <a:gd name="T25" fmla="*/ 5 h 8"/>
              <a:gd name="T26" fmla="*/ 0 w 4"/>
              <a:gd name="T2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8">
                <a:moveTo>
                  <a:pt x="0" y="3"/>
                </a:moveTo>
                <a:lnTo>
                  <a:pt x="0" y="3"/>
                </a:lnTo>
                <a:lnTo>
                  <a:pt x="2" y="3"/>
                </a:lnTo>
                <a:lnTo>
                  <a:pt x="2" y="3"/>
                </a:lnTo>
                <a:lnTo>
                  <a:pt x="4" y="1"/>
                </a:lnTo>
                <a:lnTo>
                  <a:pt x="4" y="0"/>
                </a:lnTo>
                <a:lnTo>
                  <a:pt x="4" y="1"/>
                </a:lnTo>
                <a:lnTo>
                  <a:pt x="4" y="5"/>
                </a:lnTo>
                <a:lnTo>
                  <a:pt x="4" y="5"/>
                </a:lnTo>
                <a:lnTo>
                  <a:pt x="4" y="6"/>
                </a:lnTo>
                <a:lnTo>
                  <a:pt x="4" y="6"/>
                </a:lnTo>
                <a:lnTo>
                  <a:pt x="4" y="8"/>
                </a:lnTo>
                <a:lnTo>
                  <a:pt x="2" y="5"/>
                </a:lnTo>
                <a:lnTo>
                  <a:pt x="0" y="3"/>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15" name="iŝliḍe">
            <a:extLst>
              <a:ext uri="{FF2B5EF4-FFF2-40B4-BE49-F238E27FC236}">
                <a16:creationId xmlns:a16="http://schemas.microsoft.com/office/drawing/2014/main" id="{D697B470-79D0-43FB-A00B-DD8E7448920D}"/>
              </a:ext>
            </a:extLst>
          </p:cNvPr>
          <p:cNvSpPr/>
          <p:nvPr/>
        </p:nvSpPr>
        <p:spPr bwMode="auto">
          <a:xfrm>
            <a:off x="11585612" y="6676195"/>
            <a:ext cx="13303" cy="35474"/>
          </a:xfrm>
          <a:custGeom>
            <a:avLst/>
            <a:gdLst>
              <a:gd name="T0" fmla="*/ 3 w 3"/>
              <a:gd name="T1" fmla="*/ 8 h 8"/>
              <a:gd name="T2" fmla="*/ 2 w 3"/>
              <a:gd name="T3" fmla="*/ 5 h 8"/>
              <a:gd name="T4" fmla="*/ 0 w 3"/>
              <a:gd name="T5" fmla="*/ 5 h 8"/>
              <a:gd name="T6" fmla="*/ 0 w 3"/>
              <a:gd name="T7" fmla="*/ 5 h 8"/>
              <a:gd name="T8" fmla="*/ 2 w 3"/>
              <a:gd name="T9" fmla="*/ 3 h 8"/>
              <a:gd name="T10" fmla="*/ 2 w 3"/>
              <a:gd name="T11" fmla="*/ 1 h 8"/>
              <a:gd name="T12" fmla="*/ 3 w 3"/>
              <a:gd name="T13" fmla="*/ 0 h 8"/>
              <a:gd name="T14" fmla="*/ 3 w 3"/>
              <a:gd name="T15" fmla="*/ 3 h 8"/>
              <a:gd name="T16" fmla="*/ 3 w 3"/>
              <a:gd name="T17" fmla="*/ 3 h 8"/>
              <a:gd name="T18" fmla="*/ 3 w 3"/>
              <a:gd name="T19" fmla="*/ 6 h 8"/>
              <a:gd name="T20" fmla="*/ 3 w 3"/>
              <a:gd name="T21" fmla="*/ 8 h 8"/>
              <a:gd name="T22" fmla="*/ 3 w 3"/>
              <a:gd name="T2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8">
                <a:moveTo>
                  <a:pt x="3" y="8"/>
                </a:moveTo>
                <a:lnTo>
                  <a:pt x="2" y="5"/>
                </a:lnTo>
                <a:lnTo>
                  <a:pt x="0" y="5"/>
                </a:lnTo>
                <a:lnTo>
                  <a:pt x="0" y="5"/>
                </a:lnTo>
                <a:lnTo>
                  <a:pt x="2" y="3"/>
                </a:lnTo>
                <a:lnTo>
                  <a:pt x="2" y="1"/>
                </a:lnTo>
                <a:lnTo>
                  <a:pt x="3" y="0"/>
                </a:lnTo>
                <a:lnTo>
                  <a:pt x="3" y="3"/>
                </a:lnTo>
                <a:lnTo>
                  <a:pt x="3" y="3"/>
                </a:lnTo>
                <a:lnTo>
                  <a:pt x="3" y="6"/>
                </a:lnTo>
                <a:lnTo>
                  <a:pt x="3" y="8"/>
                </a:lnTo>
                <a:lnTo>
                  <a:pt x="3" y="8"/>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16" name="íšľïdé">
            <a:extLst>
              <a:ext uri="{FF2B5EF4-FFF2-40B4-BE49-F238E27FC236}">
                <a16:creationId xmlns:a16="http://schemas.microsoft.com/office/drawing/2014/main" id="{4236CCFE-C147-4637-9FB7-ADAEA48D88BD}"/>
              </a:ext>
            </a:extLst>
          </p:cNvPr>
          <p:cNvSpPr/>
          <p:nvPr/>
        </p:nvSpPr>
        <p:spPr bwMode="auto">
          <a:xfrm>
            <a:off x="11536834" y="6654024"/>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17" name="îṡlíďè">
            <a:extLst>
              <a:ext uri="{FF2B5EF4-FFF2-40B4-BE49-F238E27FC236}">
                <a16:creationId xmlns:a16="http://schemas.microsoft.com/office/drawing/2014/main" id="{377F4C28-EA67-4323-8CEF-92A1B53C6EF5}"/>
              </a:ext>
            </a:extLst>
          </p:cNvPr>
          <p:cNvSpPr/>
          <p:nvPr/>
        </p:nvSpPr>
        <p:spPr bwMode="auto">
          <a:xfrm>
            <a:off x="11563441" y="6662893"/>
            <a:ext cx="31040" cy="17737"/>
          </a:xfrm>
          <a:custGeom>
            <a:avLst/>
            <a:gdLst>
              <a:gd name="T0" fmla="*/ 0 w 7"/>
              <a:gd name="T1" fmla="*/ 1 h 4"/>
              <a:gd name="T2" fmla="*/ 2 w 7"/>
              <a:gd name="T3" fmla="*/ 1 h 4"/>
              <a:gd name="T4" fmla="*/ 2 w 7"/>
              <a:gd name="T5" fmla="*/ 1 h 4"/>
              <a:gd name="T6" fmla="*/ 5 w 7"/>
              <a:gd name="T7" fmla="*/ 0 h 4"/>
              <a:gd name="T8" fmla="*/ 7 w 7"/>
              <a:gd name="T9" fmla="*/ 0 h 4"/>
              <a:gd name="T10" fmla="*/ 7 w 7"/>
              <a:gd name="T11" fmla="*/ 1 h 4"/>
              <a:gd name="T12" fmla="*/ 5 w 7"/>
              <a:gd name="T13" fmla="*/ 3 h 4"/>
              <a:gd name="T14" fmla="*/ 5 w 7"/>
              <a:gd name="T15" fmla="*/ 3 h 4"/>
              <a:gd name="T16" fmla="*/ 3 w 7"/>
              <a:gd name="T17" fmla="*/ 4 h 4"/>
              <a:gd name="T18" fmla="*/ 3 w 7"/>
              <a:gd name="T19" fmla="*/ 4 h 4"/>
              <a:gd name="T20" fmla="*/ 3 w 7"/>
              <a:gd name="T21" fmla="*/ 4 h 4"/>
              <a:gd name="T22" fmla="*/ 0 w 7"/>
              <a:gd name="T23"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0" y="1"/>
                </a:moveTo>
                <a:lnTo>
                  <a:pt x="2" y="1"/>
                </a:lnTo>
                <a:lnTo>
                  <a:pt x="2" y="1"/>
                </a:lnTo>
                <a:lnTo>
                  <a:pt x="5" y="0"/>
                </a:lnTo>
                <a:lnTo>
                  <a:pt x="7" y="0"/>
                </a:lnTo>
                <a:lnTo>
                  <a:pt x="7" y="1"/>
                </a:lnTo>
                <a:lnTo>
                  <a:pt x="5" y="3"/>
                </a:lnTo>
                <a:lnTo>
                  <a:pt x="5" y="3"/>
                </a:lnTo>
                <a:lnTo>
                  <a:pt x="3" y="4"/>
                </a:lnTo>
                <a:lnTo>
                  <a:pt x="3" y="4"/>
                </a:lnTo>
                <a:lnTo>
                  <a:pt x="3" y="4"/>
                </a:lnTo>
                <a:lnTo>
                  <a:pt x="0" y="1"/>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18" name="íśļíḑè">
            <a:extLst>
              <a:ext uri="{FF2B5EF4-FFF2-40B4-BE49-F238E27FC236}">
                <a16:creationId xmlns:a16="http://schemas.microsoft.com/office/drawing/2014/main" id="{2AB4824D-0323-4028-BAED-AE6B62E27223}"/>
              </a:ext>
            </a:extLst>
          </p:cNvPr>
          <p:cNvSpPr/>
          <p:nvPr/>
        </p:nvSpPr>
        <p:spPr bwMode="auto">
          <a:xfrm>
            <a:off x="11563441" y="6631853"/>
            <a:ext cx="31040" cy="22171"/>
          </a:xfrm>
          <a:custGeom>
            <a:avLst/>
            <a:gdLst>
              <a:gd name="T0" fmla="*/ 7 w 7"/>
              <a:gd name="T1" fmla="*/ 5 h 5"/>
              <a:gd name="T2" fmla="*/ 7 w 7"/>
              <a:gd name="T3" fmla="*/ 5 h 5"/>
              <a:gd name="T4" fmla="*/ 2 w 7"/>
              <a:gd name="T5" fmla="*/ 5 h 5"/>
              <a:gd name="T6" fmla="*/ 0 w 7"/>
              <a:gd name="T7" fmla="*/ 5 h 5"/>
              <a:gd name="T8" fmla="*/ 2 w 7"/>
              <a:gd name="T9" fmla="*/ 3 h 5"/>
              <a:gd name="T10" fmla="*/ 2 w 7"/>
              <a:gd name="T11" fmla="*/ 2 h 5"/>
              <a:gd name="T12" fmla="*/ 3 w 7"/>
              <a:gd name="T13" fmla="*/ 0 h 5"/>
              <a:gd name="T14" fmla="*/ 3 w 7"/>
              <a:gd name="T15" fmla="*/ 0 h 5"/>
              <a:gd name="T16" fmla="*/ 3 w 7"/>
              <a:gd name="T17" fmla="*/ 0 h 5"/>
              <a:gd name="T18" fmla="*/ 7 w 7"/>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7" y="5"/>
                </a:moveTo>
                <a:lnTo>
                  <a:pt x="7" y="5"/>
                </a:lnTo>
                <a:lnTo>
                  <a:pt x="2" y="5"/>
                </a:lnTo>
                <a:lnTo>
                  <a:pt x="0" y="5"/>
                </a:lnTo>
                <a:lnTo>
                  <a:pt x="2" y="3"/>
                </a:lnTo>
                <a:lnTo>
                  <a:pt x="2" y="2"/>
                </a:lnTo>
                <a:lnTo>
                  <a:pt x="3" y="0"/>
                </a:lnTo>
                <a:lnTo>
                  <a:pt x="3" y="0"/>
                </a:lnTo>
                <a:lnTo>
                  <a:pt x="3" y="0"/>
                </a:lnTo>
                <a:lnTo>
                  <a:pt x="7" y="5"/>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19" name="íṩḷiďé">
            <a:extLst>
              <a:ext uri="{FF2B5EF4-FFF2-40B4-BE49-F238E27FC236}">
                <a16:creationId xmlns:a16="http://schemas.microsoft.com/office/drawing/2014/main" id="{1E20ED3C-A0F4-4898-864F-A4A03DE1DD3F}"/>
              </a:ext>
            </a:extLst>
          </p:cNvPr>
          <p:cNvSpPr/>
          <p:nvPr/>
        </p:nvSpPr>
        <p:spPr bwMode="auto">
          <a:xfrm>
            <a:off x="11643257" y="6676195"/>
            <a:ext cx="8868" cy="35474"/>
          </a:xfrm>
          <a:custGeom>
            <a:avLst/>
            <a:gdLst>
              <a:gd name="T0" fmla="*/ 0 w 2"/>
              <a:gd name="T1" fmla="*/ 5 h 8"/>
              <a:gd name="T2" fmla="*/ 0 w 2"/>
              <a:gd name="T3" fmla="*/ 3 h 8"/>
              <a:gd name="T4" fmla="*/ 2 w 2"/>
              <a:gd name="T5" fmla="*/ 1 h 8"/>
              <a:gd name="T6" fmla="*/ 2 w 2"/>
              <a:gd name="T7" fmla="*/ 1 h 8"/>
              <a:gd name="T8" fmla="*/ 2 w 2"/>
              <a:gd name="T9" fmla="*/ 0 h 8"/>
              <a:gd name="T10" fmla="*/ 2 w 2"/>
              <a:gd name="T11" fmla="*/ 1 h 8"/>
              <a:gd name="T12" fmla="*/ 2 w 2"/>
              <a:gd name="T13" fmla="*/ 3 h 8"/>
              <a:gd name="T14" fmla="*/ 2 w 2"/>
              <a:gd name="T15" fmla="*/ 6 h 8"/>
              <a:gd name="T16" fmla="*/ 2 w 2"/>
              <a:gd name="T17" fmla="*/ 8 h 8"/>
              <a:gd name="T18" fmla="*/ 2 w 2"/>
              <a:gd name="T19" fmla="*/ 8 h 8"/>
              <a:gd name="T20" fmla="*/ 2 w 2"/>
              <a:gd name="T21" fmla="*/ 6 h 8"/>
              <a:gd name="T22" fmla="*/ 0 w 2"/>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8">
                <a:moveTo>
                  <a:pt x="0" y="5"/>
                </a:moveTo>
                <a:lnTo>
                  <a:pt x="0" y="3"/>
                </a:lnTo>
                <a:lnTo>
                  <a:pt x="2" y="1"/>
                </a:lnTo>
                <a:lnTo>
                  <a:pt x="2" y="1"/>
                </a:lnTo>
                <a:lnTo>
                  <a:pt x="2" y="0"/>
                </a:lnTo>
                <a:lnTo>
                  <a:pt x="2" y="1"/>
                </a:lnTo>
                <a:lnTo>
                  <a:pt x="2" y="3"/>
                </a:lnTo>
                <a:lnTo>
                  <a:pt x="2" y="6"/>
                </a:lnTo>
                <a:lnTo>
                  <a:pt x="2" y="8"/>
                </a:lnTo>
                <a:lnTo>
                  <a:pt x="2" y="8"/>
                </a:lnTo>
                <a:lnTo>
                  <a:pt x="2" y="6"/>
                </a:lnTo>
                <a:lnTo>
                  <a:pt x="0" y="5"/>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20" name="ïŝ1íḑè">
            <a:extLst>
              <a:ext uri="{FF2B5EF4-FFF2-40B4-BE49-F238E27FC236}">
                <a16:creationId xmlns:a16="http://schemas.microsoft.com/office/drawing/2014/main" id="{8FD948E0-186B-45E7-943A-B93659F192A8}"/>
              </a:ext>
            </a:extLst>
          </p:cNvPr>
          <p:cNvSpPr/>
          <p:nvPr/>
        </p:nvSpPr>
        <p:spPr bwMode="auto">
          <a:xfrm>
            <a:off x="11665428" y="6676195"/>
            <a:ext cx="13303" cy="35474"/>
          </a:xfrm>
          <a:custGeom>
            <a:avLst/>
            <a:gdLst>
              <a:gd name="T0" fmla="*/ 0 w 3"/>
              <a:gd name="T1" fmla="*/ 1 h 8"/>
              <a:gd name="T2" fmla="*/ 0 w 3"/>
              <a:gd name="T3" fmla="*/ 1 h 8"/>
              <a:gd name="T4" fmla="*/ 0 w 3"/>
              <a:gd name="T5" fmla="*/ 0 h 8"/>
              <a:gd name="T6" fmla="*/ 2 w 3"/>
              <a:gd name="T7" fmla="*/ 3 h 8"/>
              <a:gd name="T8" fmla="*/ 2 w 3"/>
              <a:gd name="T9" fmla="*/ 3 h 8"/>
              <a:gd name="T10" fmla="*/ 3 w 3"/>
              <a:gd name="T11" fmla="*/ 5 h 8"/>
              <a:gd name="T12" fmla="*/ 3 w 3"/>
              <a:gd name="T13" fmla="*/ 5 h 8"/>
              <a:gd name="T14" fmla="*/ 2 w 3"/>
              <a:gd name="T15" fmla="*/ 6 h 8"/>
              <a:gd name="T16" fmla="*/ 2 w 3"/>
              <a:gd name="T17" fmla="*/ 6 h 8"/>
              <a:gd name="T18" fmla="*/ 0 w 3"/>
              <a:gd name="T19" fmla="*/ 8 h 8"/>
              <a:gd name="T20" fmla="*/ 0 w 3"/>
              <a:gd name="T21" fmla="*/ 6 h 8"/>
              <a:gd name="T22" fmla="*/ 0 w 3"/>
              <a:gd name="T23" fmla="*/ 5 h 8"/>
              <a:gd name="T24" fmla="*/ 0 w 3"/>
              <a:gd name="T25" fmla="*/ 3 h 8"/>
              <a:gd name="T26" fmla="*/ 0 w 3"/>
              <a:gd name="T2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8">
                <a:moveTo>
                  <a:pt x="0" y="1"/>
                </a:moveTo>
                <a:lnTo>
                  <a:pt x="0" y="1"/>
                </a:lnTo>
                <a:lnTo>
                  <a:pt x="0" y="0"/>
                </a:lnTo>
                <a:lnTo>
                  <a:pt x="2" y="3"/>
                </a:lnTo>
                <a:lnTo>
                  <a:pt x="2" y="3"/>
                </a:lnTo>
                <a:lnTo>
                  <a:pt x="3" y="5"/>
                </a:lnTo>
                <a:lnTo>
                  <a:pt x="3" y="5"/>
                </a:lnTo>
                <a:lnTo>
                  <a:pt x="2" y="6"/>
                </a:lnTo>
                <a:lnTo>
                  <a:pt x="2" y="6"/>
                </a:lnTo>
                <a:lnTo>
                  <a:pt x="0" y="8"/>
                </a:lnTo>
                <a:lnTo>
                  <a:pt x="0" y="6"/>
                </a:lnTo>
                <a:lnTo>
                  <a:pt x="0" y="5"/>
                </a:lnTo>
                <a:lnTo>
                  <a:pt x="0" y="3"/>
                </a:lnTo>
                <a:lnTo>
                  <a:pt x="0" y="1"/>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21" name="ïśḷíḑe">
            <a:extLst>
              <a:ext uri="{FF2B5EF4-FFF2-40B4-BE49-F238E27FC236}">
                <a16:creationId xmlns:a16="http://schemas.microsoft.com/office/drawing/2014/main" id="{4D24F62E-C45F-469E-83E0-28A798F032F0}"/>
              </a:ext>
            </a:extLst>
          </p:cNvPr>
          <p:cNvSpPr/>
          <p:nvPr/>
        </p:nvSpPr>
        <p:spPr bwMode="auto">
          <a:xfrm>
            <a:off x="11731942" y="6742709"/>
            <a:ext cx="26605" cy="13303"/>
          </a:xfrm>
          <a:custGeom>
            <a:avLst/>
            <a:gdLst>
              <a:gd name="T0" fmla="*/ 0 w 6"/>
              <a:gd name="T1" fmla="*/ 0 h 3"/>
              <a:gd name="T2" fmla="*/ 3 w 6"/>
              <a:gd name="T3" fmla="*/ 0 h 3"/>
              <a:gd name="T4" fmla="*/ 4 w 6"/>
              <a:gd name="T5" fmla="*/ 0 h 3"/>
              <a:gd name="T6" fmla="*/ 6 w 6"/>
              <a:gd name="T7" fmla="*/ 0 h 3"/>
              <a:gd name="T8" fmla="*/ 4 w 6"/>
              <a:gd name="T9" fmla="*/ 0 h 3"/>
              <a:gd name="T10" fmla="*/ 4 w 6"/>
              <a:gd name="T11" fmla="*/ 1 h 3"/>
              <a:gd name="T12" fmla="*/ 3 w 6"/>
              <a:gd name="T13" fmla="*/ 3 h 3"/>
              <a:gd name="T14" fmla="*/ 3 w 6"/>
              <a:gd name="T15" fmla="*/ 3 h 3"/>
              <a:gd name="T16" fmla="*/ 3 w 6"/>
              <a:gd name="T17" fmla="*/ 3 h 3"/>
              <a:gd name="T18" fmla="*/ 1 w 6"/>
              <a:gd name="T19" fmla="*/ 1 h 3"/>
              <a:gd name="T20" fmla="*/ 0 w 6"/>
              <a:gd name="T21" fmla="*/ 0 h 3"/>
              <a:gd name="T22" fmla="*/ 0 w 6"/>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3">
                <a:moveTo>
                  <a:pt x="0" y="0"/>
                </a:moveTo>
                <a:lnTo>
                  <a:pt x="3" y="0"/>
                </a:lnTo>
                <a:lnTo>
                  <a:pt x="4" y="0"/>
                </a:lnTo>
                <a:lnTo>
                  <a:pt x="6" y="0"/>
                </a:lnTo>
                <a:lnTo>
                  <a:pt x="4" y="0"/>
                </a:lnTo>
                <a:lnTo>
                  <a:pt x="4" y="1"/>
                </a:lnTo>
                <a:lnTo>
                  <a:pt x="3" y="3"/>
                </a:lnTo>
                <a:lnTo>
                  <a:pt x="3" y="3"/>
                </a:lnTo>
                <a:lnTo>
                  <a:pt x="3" y="3"/>
                </a:lnTo>
                <a:lnTo>
                  <a:pt x="1" y="1"/>
                </a:lnTo>
                <a:lnTo>
                  <a:pt x="0" y="0"/>
                </a:lnTo>
                <a:lnTo>
                  <a:pt x="0"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22" name="îṡḻiḑè">
            <a:extLst>
              <a:ext uri="{FF2B5EF4-FFF2-40B4-BE49-F238E27FC236}">
                <a16:creationId xmlns:a16="http://schemas.microsoft.com/office/drawing/2014/main" id="{B83A7FA3-94BE-4D2B-A820-35B6440306DF}"/>
              </a:ext>
            </a:extLst>
          </p:cNvPr>
          <p:cNvSpPr/>
          <p:nvPr/>
        </p:nvSpPr>
        <p:spPr bwMode="auto">
          <a:xfrm>
            <a:off x="11731942" y="6702801"/>
            <a:ext cx="17737" cy="22171"/>
          </a:xfrm>
          <a:custGeom>
            <a:avLst/>
            <a:gdLst>
              <a:gd name="T0" fmla="*/ 0 w 4"/>
              <a:gd name="T1" fmla="*/ 4 h 5"/>
              <a:gd name="T2" fmla="*/ 1 w 4"/>
              <a:gd name="T3" fmla="*/ 4 h 5"/>
              <a:gd name="T4" fmla="*/ 1 w 4"/>
              <a:gd name="T5" fmla="*/ 2 h 5"/>
              <a:gd name="T6" fmla="*/ 1 w 4"/>
              <a:gd name="T7" fmla="*/ 0 h 5"/>
              <a:gd name="T8" fmla="*/ 1 w 4"/>
              <a:gd name="T9" fmla="*/ 0 h 5"/>
              <a:gd name="T10" fmla="*/ 3 w 4"/>
              <a:gd name="T11" fmla="*/ 2 h 5"/>
              <a:gd name="T12" fmla="*/ 4 w 4"/>
              <a:gd name="T13" fmla="*/ 5 h 5"/>
              <a:gd name="T14" fmla="*/ 4 w 4"/>
              <a:gd name="T15" fmla="*/ 5 h 5"/>
              <a:gd name="T16" fmla="*/ 3 w 4"/>
              <a:gd name="T17" fmla="*/ 5 h 5"/>
              <a:gd name="T18" fmla="*/ 1 w 4"/>
              <a:gd name="T19" fmla="*/ 5 h 5"/>
              <a:gd name="T20" fmla="*/ 0 w 4"/>
              <a:gd name="T21" fmla="*/ 5 h 5"/>
              <a:gd name="T22" fmla="*/ 0 w 4"/>
              <a:gd name="T2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5">
                <a:moveTo>
                  <a:pt x="0" y="4"/>
                </a:moveTo>
                <a:lnTo>
                  <a:pt x="1" y="4"/>
                </a:lnTo>
                <a:lnTo>
                  <a:pt x="1" y="2"/>
                </a:lnTo>
                <a:lnTo>
                  <a:pt x="1" y="0"/>
                </a:lnTo>
                <a:lnTo>
                  <a:pt x="1" y="0"/>
                </a:lnTo>
                <a:lnTo>
                  <a:pt x="3" y="2"/>
                </a:lnTo>
                <a:lnTo>
                  <a:pt x="4" y="5"/>
                </a:lnTo>
                <a:lnTo>
                  <a:pt x="4" y="5"/>
                </a:lnTo>
                <a:lnTo>
                  <a:pt x="3" y="5"/>
                </a:lnTo>
                <a:lnTo>
                  <a:pt x="1" y="5"/>
                </a:lnTo>
                <a:lnTo>
                  <a:pt x="0" y="5"/>
                </a:lnTo>
                <a:lnTo>
                  <a:pt x="0" y="4"/>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23" name="íŝlïḍé">
            <a:extLst>
              <a:ext uri="{FF2B5EF4-FFF2-40B4-BE49-F238E27FC236}">
                <a16:creationId xmlns:a16="http://schemas.microsoft.com/office/drawing/2014/main" id="{B70386B4-756B-4031-A7EE-B8ECFBA49531}"/>
              </a:ext>
            </a:extLst>
          </p:cNvPr>
          <p:cNvSpPr/>
          <p:nvPr/>
        </p:nvSpPr>
        <p:spPr bwMode="auto">
          <a:xfrm>
            <a:off x="11723073" y="6756012"/>
            <a:ext cx="13303" cy="35474"/>
          </a:xfrm>
          <a:custGeom>
            <a:avLst/>
            <a:gdLst>
              <a:gd name="T0" fmla="*/ 3 w 3"/>
              <a:gd name="T1" fmla="*/ 3 h 8"/>
              <a:gd name="T2" fmla="*/ 2 w 3"/>
              <a:gd name="T3" fmla="*/ 5 h 8"/>
              <a:gd name="T4" fmla="*/ 2 w 3"/>
              <a:gd name="T5" fmla="*/ 6 h 8"/>
              <a:gd name="T6" fmla="*/ 0 w 3"/>
              <a:gd name="T7" fmla="*/ 8 h 8"/>
              <a:gd name="T8" fmla="*/ 0 w 3"/>
              <a:gd name="T9" fmla="*/ 5 h 8"/>
              <a:gd name="T10" fmla="*/ 0 w 3"/>
              <a:gd name="T11" fmla="*/ 3 h 8"/>
              <a:gd name="T12" fmla="*/ 0 w 3"/>
              <a:gd name="T13" fmla="*/ 0 h 8"/>
              <a:gd name="T14" fmla="*/ 0 w 3"/>
              <a:gd name="T15" fmla="*/ 0 h 8"/>
              <a:gd name="T16" fmla="*/ 3 w 3"/>
              <a:gd name="T17" fmla="*/ 3 h 8"/>
              <a:gd name="T18" fmla="*/ 3 w 3"/>
              <a:gd name="T19"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8">
                <a:moveTo>
                  <a:pt x="3" y="3"/>
                </a:moveTo>
                <a:lnTo>
                  <a:pt x="2" y="5"/>
                </a:lnTo>
                <a:lnTo>
                  <a:pt x="2" y="6"/>
                </a:lnTo>
                <a:lnTo>
                  <a:pt x="0" y="8"/>
                </a:lnTo>
                <a:lnTo>
                  <a:pt x="0" y="5"/>
                </a:lnTo>
                <a:lnTo>
                  <a:pt x="0" y="3"/>
                </a:lnTo>
                <a:lnTo>
                  <a:pt x="0" y="0"/>
                </a:lnTo>
                <a:lnTo>
                  <a:pt x="0" y="0"/>
                </a:lnTo>
                <a:lnTo>
                  <a:pt x="3" y="3"/>
                </a:lnTo>
                <a:lnTo>
                  <a:pt x="3" y="3"/>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24" name="îŝ1îḑê">
            <a:extLst>
              <a:ext uri="{FF2B5EF4-FFF2-40B4-BE49-F238E27FC236}">
                <a16:creationId xmlns:a16="http://schemas.microsoft.com/office/drawing/2014/main" id="{AE9821FB-22E8-4B8A-A0F4-486241876BD9}"/>
              </a:ext>
            </a:extLst>
          </p:cNvPr>
          <p:cNvSpPr/>
          <p:nvPr/>
        </p:nvSpPr>
        <p:spPr bwMode="auto">
          <a:xfrm>
            <a:off x="11780719" y="6702801"/>
            <a:ext cx="26605" cy="22171"/>
          </a:xfrm>
          <a:custGeom>
            <a:avLst/>
            <a:gdLst>
              <a:gd name="T0" fmla="*/ 6 w 6"/>
              <a:gd name="T1" fmla="*/ 5 h 5"/>
              <a:gd name="T2" fmla="*/ 3 w 6"/>
              <a:gd name="T3" fmla="*/ 5 h 5"/>
              <a:gd name="T4" fmla="*/ 2 w 6"/>
              <a:gd name="T5" fmla="*/ 5 h 5"/>
              <a:gd name="T6" fmla="*/ 0 w 6"/>
              <a:gd name="T7" fmla="*/ 5 h 5"/>
              <a:gd name="T8" fmla="*/ 0 w 6"/>
              <a:gd name="T9" fmla="*/ 4 h 5"/>
              <a:gd name="T10" fmla="*/ 2 w 6"/>
              <a:gd name="T11" fmla="*/ 2 h 5"/>
              <a:gd name="T12" fmla="*/ 3 w 6"/>
              <a:gd name="T13" fmla="*/ 0 h 5"/>
              <a:gd name="T14" fmla="*/ 3 w 6"/>
              <a:gd name="T15" fmla="*/ 0 h 5"/>
              <a:gd name="T16" fmla="*/ 3 w 6"/>
              <a:gd name="T17" fmla="*/ 2 h 5"/>
              <a:gd name="T18" fmla="*/ 6 w 6"/>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6" y="5"/>
                </a:moveTo>
                <a:lnTo>
                  <a:pt x="3" y="5"/>
                </a:lnTo>
                <a:lnTo>
                  <a:pt x="2" y="5"/>
                </a:lnTo>
                <a:lnTo>
                  <a:pt x="0" y="5"/>
                </a:lnTo>
                <a:lnTo>
                  <a:pt x="0" y="4"/>
                </a:lnTo>
                <a:lnTo>
                  <a:pt x="2" y="2"/>
                </a:lnTo>
                <a:lnTo>
                  <a:pt x="3" y="0"/>
                </a:lnTo>
                <a:lnTo>
                  <a:pt x="3" y="0"/>
                </a:lnTo>
                <a:lnTo>
                  <a:pt x="3" y="2"/>
                </a:lnTo>
                <a:lnTo>
                  <a:pt x="6" y="5"/>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25" name="i$ḻîdè">
            <a:extLst>
              <a:ext uri="{FF2B5EF4-FFF2-40B4-BE49-F238E27FC236}">
                <a16:creationId xmlns:a16="http://schemas.microsoft.com/office/drawing/2014/main" id="{1FA09DD1-BAA5-47F3-B354-2C61327E62AF}"/>
              </a:ext>
            </a:extLst>
          </p:cNvPr>
          <p:cNvSpPr/>
          <p:nvPr/>
        </p:nvSpPr>
        <p:spPr bwMode="auto">
          <a:xfrm>
            <a:off x="11541268" y="6622985"/>
            <a:ext cx="0" cy="17737"/>
          </a:xfrm>
          <a:custGeom>
            <a:avLst/>
            <a:gdLst>
              <a:gd name="T0" fmla="*/ 2 h 4"/>
              <a:gd name="T1" fmla="*/ 0 h 4"/>
              <a:gd name="T2" fmla="*/ 4 h 4"/>
              <a:gd name="T3" fmla="*/ 4 h 4"/>
              <a:gd name="T4" fmla="*/ 2 h 4"/>
              <a:gd name="T5" fmla="*/ 2 h 4"/>
            </a:gdLst>
            <a:ahLst/>
            <a:cxnLst>
              <a:cxn ang="0">
                <a:pos x="0" y="T0"/>
              </a:cxn>
              <a:cxn ang="0">
                <a:pos x="0" y="T1"/>
              </a:cxn>
              <a:cxn ang="0">
                <a:pos x="0" y="T2"/>
              </a:cxn>
              <a:cxn ang="0">
                <a:pos x="0" y="T3"/>
              </a:cxn>
              <a:cxn ang="0">
                <a:pos x="0" y="T4"/>
              </a:cxn>
              <a:cxn ang="0">
                <a:pos x="0" y="T5"/>
              </a:cxn>
            </a:cxnLst>
            <a:rect l="0" t="0" r="r" b="b"/>
            <a:pathLst>
              <a:path h="4">
                <a:moveTo>
                  <a:pt x="0" y="2"/>
                </a:moveTo>
                <a:lnTo>
                  <a:pt x="0" y="0"/>
                </a:lnTo>
                <a:lnTo>
                  <a:pt x="0" y="4"/>
                </a:lnTo>
                <a:lnTo>
                  <a:pt x="0" y="4"/>
                </a:lnTo>
                <a:lnTo>
                  <a:pt x="0" y="2"/>
                </a:lnTo>
                <a:lnTo>
                  <a:pt x="0" y="2"/>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26" name="îsḻïḍé">
            <a:extLst>
              <a:ext uri="{FF2B5EF4-FFF2-40B4-BE49-F238E27FC236}">
                <a16:creationId xmlns:a16="http://schemas.microsoft.com/office/drawing/2014/main" id="{93493C12-0474-47A9-9231-7D7CBD79ACC9}"/>
              </a:ext>
            </a:extLst>
          </p:cNvPr>
          <p:cNvSpPr/>
          <p:nvPr/>
        </p:nvSpPr>
        <p:spPr bwMode="auto">
          <a:xfrm>
            <a:off x="11519097" y="6631853"/>
            <a:ext cx="8868" cy="13303"/>
          </a:xfrm>
          <a:custGeom>
            <a:avLst/>
            <a:gdLst>
              <a:gd name="T0" fmla="*/ 0 w 2"/>
              <a:gd name="T1" fmla="*/ 2 h 3"/>
              <a:gd name="T2" fmla="*/ 0 w 2"/>
              <a:gd name="T3" fmla="*/ 2 h 3"/>
              <a:gd name="T4" fmla="*/ 0 w 2"/>
              <a:gd name="T5" fmla="*/ 0 h 3"/>
              <a:gd name="T6" fmla="*/ 2 w 2"/>
              <a:gd name="T7" fmla="*/ 0 h 3"/>
              <a:gd name="T8" fmla="*/ 2 w 2"/>
              <a:gd name="T9" fmla="*/ 0 h 3"/>
              <a:gd name="T10" fmla="*/ 2 w 2"/>
              <a:gd name="T11" fmla="*/ 2 h 3"/>
              <a:gd name="T12" fmla="*/ 2 w 2"/>
              <a:gd name="T13" fmla="*/ 2 h 3"/>
              <a:gd name="T14" fmla="*/ 2 w 2"/>
              <a:gd name="T15" fmla="*/ 3 h 3"/>
              <a:gd name="T16" fmla="*/ 2 w 2"/>
              <a:gd name="T17" fmla="*/ 3 h 3"/>
              <a:gd name="T18" fmla="*/ 0 w 2"/>
              <a:gd name="T19" fmla="*/ 2 h 3"/>
              <a:gd name="T20" fmla="*/ 0 w 2"/>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3">
                <a:moveTo>
                  <a:pt x="0" y="2"/>
                </a:moveTo>
                <a:lnTo>
                  <a:pt x="0" y="2"/>
                </a:lnTo>
                <a:lnTo>
                  <a:pt x="0" y="0"/>
                </a:lnTo>
                <a:lnTo>
                  <a:pt x="2" y="0"/>
                </a:lnTo>
                <a:lnTo>
                  <a:pt x="2" y="0"/>
                </a:lnTo>
                <a:lnTo>
                  <a:pt x="2" y="2"/>
                </a:lnTo>
                <a:lnTo>
                  <a:pt x="2" y="2"/>
                </a:lnTo>
                <a:lnTo>
                  <a:pt x="2" y="3"/>
                </a:lnTo>
                <a:lnTo>
                  <a:pt x="2" y="3"/>
                </a:lnTo>
                <a:lnTo>
                  <a:pt x="0" y="2"/>
                </a:lnTo>
                <a:lnTo>
                  <a:pt x="0" y="2"/>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27" name="ïşḷíďè">
            <a:extLst>
              <a:ext uri="{FF2B5EF4-FFF2-40B4-BE49-F238E27FC236}">
                <a16:creationId xmlns:a16="http://schemas.microsoft.com/office/drawing/2014/main" id="{26362A64-9C79-43C6-9A27-2FC43682B429}"/>
              </a:ext>
            </a:extLst>
          </p:cNvPr>
          <p:cNvSpPr/>
          <p:nvPr/>
        </p:nvSpPr>
        <p:spPr bwMode="auto">
          <a:xfrm>
            <a:off x="11505795" y="6742709"/>
            <a:ext cx="31040" cy="17737"/>
          </a:xfrm>
          <a:custGeom>
            <a:avLst/>
            <a:gdLst>
              <a:gd name="T0" fmla="*/ 2 w 7"/>
              <a:gd name="T1" fmla="*/ 0 h 4"/>
              <a:gd name="T2" fmla="*/ 3 w 7"/>
              <a:gd name="T3" fmla="*/ 0 h 4"/>
              <a:gd name="T4" fmla="*/ 5 w 7"/>
              <a:gd name="T5" fmla="*/ 0 h 4"/>
              <a:gd name="T6" fmla="*/ 7 w 7"/>
              <a:gd name="T7" fmla="*/ 0 h 4"/>
              <a:gd name="T8" fmla="*/ 7 w 7"/>
              <a:gd name="T9" fmla="*/ 1 h 4"/>
              <a:gd name="T10" fmla="*/ 5 w 7"/>
              <a:gd name="T11" fmla="*/ 1 h 4"/>
              <a:gd name="T12" fmla="*/ 5 w 7"/>
              <a:gd name="T13" fmla="*/ 1 h 4"/>
              <a:gd name="T14" fmla="*/ 3 w 7"/>
              <a:gd name="T15" fmla="*/ 3 h 4"/>
              <a:gd name="T16" fmla="*/ 3 w 7"/>
              <a:gd name="T17" fmla="*/ 3 h 4"/>
              <a:gd name="T18" fmla="*/ 2 w 7"/>
              <a:gd name="T19" fmla="*/ 4 h 4"/>
              <a:gd name="T20" fmla="*/ 2 w 7"/>
              <a:gd name="T21" fmla="*/ 1 h 4"/>
              <a:gd name="T22" fmla="*/ 0 w 7"/>
              <a:gd name="T23" fmla="*/ 0 h 4"/>
              <a:gd name="T24" fmla="*/ 2 w 7"/>
              <a:gd name="T25" fmla="*/ 0 h 4"/>
              <a:gd name="T26" fmla="*/ 2 w 7"/>
              <a:gd name="T2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4">
                <a:moveTo>
                  <a:pt x="2" y="0"/>
                </a:moveTo>
                <a:lnTo>
                  <a:pt x="3" y="0"/>
                </a:lnTo>
                <a:lnTo>
                  <a:pt x="5" y="0"/>
                </a:lnTo>
                <a:lnTo>
                  <a:pt x="7" y="0"/>
                </a:lnTo>
                <a:lnTo>
                  <a:pt x="7" y="1"/>
                </a:lnTo>
                <a:lnTo>
                  <a:pt x="5" y="1"/>
                </a:lnTo>
                <a:lnTo>
                  <a:pt x="5" y="1"/>
                </a:lnTo>
                <a:lnTo>
                  <a:pt x="3" y="3"/>
                </a:lnTo>
                <a:lnTo>
                  <a:pt x="3" y="3"/>
                </a:lnTo>
                <a:lnTo>
                  <a:pt x="2" y="4"/>
                </a:lnTo>
                <a:lnTo>
                  <a:pt x="2" y="1"/>
                </a:lnTo>
                <a:lnTo>
                  <a:pt x="0" y="0"/>
                </a:lnTo>
                <a:lnTo>
                  <a:pt x="2" y="0"/>
                </a:lnTo>
                <a:lnTo>
                  <a:pt x="2"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28" name="îṡḻîḓe">
            <a:extLst>
              <a:ext uri="{FF2B5EF4-FFF2-40B4-BE49-F238E27FC236}">
                <a16:creationId xmlns:a16="http://schemas.microsoft.com/office/drawing/2014/main" id="{CD85EDF1-115F-4594-9BAB-7C2744AC672D}"/>
              </a:ext>
            </a:extLst>
          </p:cNvPr>
          <p:cNvSpPr/>
          <p:nvPr/>
        </p:nvSpPr>
        <p:spPr bwMode="auto">
          <a:xfrm>
            <a:off x="11457018" y="6742709"/>
            <a:ext cx="22171" cy="17737"/>
          </a:xfrm>
          <a:custGeom>
            <a:avLst/>
            <a:gdLst>
              <a:gd name="T0" fmla="*/ 1 w 5"/>
              <a:gd name="T1" fmla="*/ 0 h 4"/>
              <a:gd name="T2" fmla="*/ 3 w 5"/>
              <a:gd name="T3" fmla="*/ 0 h 4"/>
              <a:gd name="T4" fmla="*/ 5 w 5"/>
              <a:gd name="T5" fmla="*/ 0 h 4"/>
              <a:gd name="T6" fmla="*/ 5 w 5"/>
              <a:gd name="T7" fmla="*/ 0 h 4"/>
              <a:gd name="T8" fmla="*/ 5 w 5"/>
              <a:gd name="T9" fmla="*/ 1 h 4"/>
              <a:gd name="T10" fmla="*/ 5 w 5"/>
              <a:gd name="T11" fmla="*/ 1 h 4"/>
              <a:gd name="T12" fmla="*/ 3 w 5"/>
              <a:gd name="T13" fmla="*/ 3 h 4"/>
              <a:gd name="T14" fmla="*/ 1 w 5"/>
              <a:gd name="T15" fmla="*/ 3 h 4"/>
              <a:gd name="T16" fmla="*/ 1 w 5"/>
              <a:gd name="T17" fmla="*/ 3 h 4"/>
              <a:gd name="T18" fmla="*/ 1 w 5"/>
              <a:gd name="T19" fmla="*/ 4 h 4"/>
              <a:gd name="T20" fmla="*/ 0 w 5"/>
              <a:gd name="T21" fmla="*/ 4 h 4"/>
              <a:gd name="T22" fmla="*/ 0 w 5"/>
              <a:gd name="T23" fmla="*/ 4 h 4"/>
              <a:gd name="T24" fmla="*/ 0 w 5"/>
              <a:gd name="T25" fmla="*/ 1 h 4"/>
              <a:gd name="T26" fmla="*/ 0 w 5"/>
              <a:gd name="T27" fmla="*/ 0 h 4"/>
              <a:gd name="T28" fmla="*/ 0 w 5"/>
              <a:gd name="T29" fmla="*/ 0 h 4"/>
              <a:gd name="T30" fmla="*/ 1 w 5"/>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 h="4">
                <a:moveTo>
                  <a:pt x="1" y="0"/>
                </a:moveTo>
                <a:lnTo>
                  <a:pt x="3" y="0"/>
                </a:lnTo>
                <a:lnTo>
                  <a:pt x="5" y="0"/>
                </a:lnTo>
                <a:lnTo>
                  <a:pt x="5" y="0"/>
                </a:lnTo>
                <a:lnTo>
                  <a:pt x="5" y="1"/>
                </a:lnTo>
                <a:lnTo>
                  <a:pt x="5" y="1"/>
                </a:lnTo>
                <a:lnTo>
                  <a:pt x="3" y="3"/>
                </a:lnTo>
                <a:lnTo>
                  <a:pt x="1" y="3"/>
                </a:lnTo>
                <a:lnTo>
                  <a:pt x="1" y="3"/>
                </a:lnTo>
                <a:lnTo>
                  <a:pt x="1" y="4"/>
                </a:lnTo>
                <a:lnTo>
                  <a:pt x="0" y="4"/>
                </a:lnTo>
                <a:lnTo>
                  <a:pt x="0" y="4"/>
                </a:lnTo>
                <a:lnTo>
                  <a:pt x="0" y="1"/>
                </a:lnTo>
                <a:lnTo>
                  <a:pt x="0" y="0"/>
                </a:lnTo>
                <a:lnTo>
                  <a:pt x="0" y="0"/>
                </a:lnTo>
                <a:lnTo>
                  <a:pt x="1"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29" name="íslîďê">
            <a:extLst>
              <a:ext uri="{FF2B5EF4-FFF2-40B4-BE49-F238E27FC236}">
                <a16:creationId xmlns:a16="http://schemas.microsoft.com/office/drawing/2014/main" id="{622E0774-A77E-4176-B3E0-3A0B219D4F0B}"/>
              </a:ext>
            </a:extLst>
          </p:cNvPr>
          <p:cNvSpPr/>
          <p:nvPr/>
        </p:nvSpPr>
        <p:spPr bwMode="auto">
          <a:xfrm>
            <a:off x="12037905" y="6747143"/>
            <a:ext cx="17737" cy="31040"/>
          </a:xfrm>
          <a:custGeom>
            <a:avLst/>
            <a:gdLst>
              <a:gd name="T0" fmla="*/ 4 w 4"/>
              <a:gd name="T1" fmla="*/ 7 h 7"/>
              <a:gd name="T2" fmla="*/ 4 w 4"/>
              <a:gd name="T3" fmla="*/ 7 h 7"/>
              <a:gd name="T4" fmla="*/ 0 w 4"/>
              <a:gd name="T5" fmla="*/ 3 h 7"/>
              <a:gd name="T6" fmla="*/ 0 w 4"/>
              <a:gd name="T7" fmla="*/ 3 h 7"/>
              <a:gd name="T8" fmla="*/ 0 w 4"/>
              <a:gd name="T9" fmla="*/ 2 h 7"/>
              <a:gd name="T10" fmla="*/ 0 w 4"/>
              <a:gd name="T11" fmla="*/ 0 h 7"/>
              <a:gd name="T12" fmla="*/ 0 w 4"/>
              <a:gd name="T13" fmla="*/ 0 h 7"/>
              <a:gd name="T14" fmla="*/ 0 w 4"/>
              <a:gd name="T15" fmla="*/ 0 h 7"/>
              <a:gd name="T16" fmla="*/ 2 w 4"/>
              <a:gd name="T17" fmla="*/ 5 h 7"/>
              <a:gd name="T18" fmla="*/ 4 w 4"/>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7">
                <a:moveTo>
                  <a:pt x="4" y="7"/>
                </a:moveTo>
                <a:lnTo>
                  <a:pt x="4" y="7"/>
                </a:lnTo>
                <a:lnTo>
                  <a:pt x="0" y="3"/>
                </a:lnTo>
                <a:lnTo>
                  <a:pt x="0" y="3"/>
                </a:lnTo>
                <a:lnTo>
                  <a:pt x="0" y="2"/>
                </a:lnTo>
                <a:lnTo>
                  <a:pt x="0" y="0"/>
                </a:lnTo>
                <a:lnTo>
                  <a:pt x="0" y="0"/>
                </a:lnTo>
                <a:lnTo>
                  <a:pt x="0" y="0"/>
                </a:lnTo>
                <a:lnTo>
                  <a:pt x="2" y="5"/>
                </a:lnTo>
                <a:lnTo>
                  <a:pt x="4" y="7"/>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30" name="í$ḷïdè">
            <a:extLst>
              <a:ext uri="{FF2B5EF4-FFF2-40B4-BE49-F238E27FC236}">
                <a16:creationId xmlns:a16="http://schemas.microsoft.com/office/drawing/2014/main" id="{AA004B10-6255-4FB4-81EA-6EA90CC8AE14}"/>
              </a:ext>
            </a:extLst>
          </p:cNvPr>
          <p:cNvSpPr/>
          <p:nvPr/>
        </p:nvSpPr>
        <p:spPr bwMode="auto">
          <a:xfrm>
            <a:off x="11989129" y="6676195"/>
            <a:ext cx="13303" cy="26605"/>
          </a:xfrm>
          <a:custGeom>
            <a:avLst/>
            <a:gdLst>
              <a:gd name="T0" fmla="*/ 3 w 3"/>
              <a:gd name="T1" fmla="*/ 3 h 6"/>
              <a:gd name="T2" fmla="*/ 2 w 3"/>
              <a:gd name="T3" fmla="*/ 3 h 6"/>
              <a:gd name="T4" fmla="*/ 0 w 3"/>
              <a:gd name="T5" fmla="*/ 6 h 6"/>
              <a:gd name="T6" fmla="*/ 0 w 3"/>
              <a:gd name="T7" fmla="*/ 6 h 6"/>
              <a:gd name="T8" fmla="*/ 0 w 3"/>
              <a:gd name="T9" fmla="*/ 6 h 6"/>
              <a:gd name="T10" fmla="*/ 0 w 3"/>
              <a:gd name="T11" fmla="*/ 6 h 6"/>
              <a:gd name="T12" fmla="*/ 0 w 3"/>
              <a:gd name="T13" fmla="*/ 5 h 6"/>
              <a:gd name="T14" fmla="*/ 0 w 3"/>
              <a:gd name="T15" fmla="*/ 1 h 6"/>
              <a:gd name="T16" fmla="*/ 0 w 3"/>
              <a:gd name="T17" fmla="*/ 0 h 6"/>
              <a:gd name="T18" fmla="*/ 0 w 3"/>
              <a:gd name="T19" fmla="*/ 0 h 6"/>
              <a:gd name="T20" fmla="*/ 2 w 3"/>
              <a:gd name="T21" fmla="*/ 3 h 6"/>
              <a:gd name="T22" fmla="*/ 3 w 3"/>
              <a:gd name="T23"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
                <a:moveTo>
                  <a:pt x="3" y="3"/>
                </a:moveTo>
                <a:lnTo>
                  <a:pt x="2" y="3"/>
                </a:lnTo>
                <a:lnTo>
                  <a:pt x="0" y="6"/>
                </a:lnTo>
                <a:lnTo>
                  <a:pt x="0" y="6"/>
                </a:lnTo>
                <a:lnTo>
                  <a:pt x="0" y="6"/>
                </a:lnTo>
                <a:lnTo>
                  <a:pt x="0" y="6"/>
                </a:lnTo>
                <a:lnTo>
                  <a:pt x="0" y="5"/>
                </a:lnTo>
                <a:lnTo>
                  <a:pt x="0" y="1"/>
                </a:lnTo>
                <a:lnTo>
                  <a:pt x="0" y="0"/>
                </a:lnTo>
                <a:lnTo>
                  <a:pt x="0" y="0"/>
                </a:lnTo>
                <a:lnTo>
                  <a:pt x="2" y="3"/>
                </a:lnTo>
                <a:lnTo>
                  <a:pt x="3" y="3"/>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31" name="íšľîḑè">
            <a:extLst>
              <a:ext uri="{FF2B5EF4-FFF2-40B4-BE49-F238E27FC236}">
                <a16:creationId xmlns:a16="http://schemas.microsoft.com/office/drawing/2014/main" id="{5C033D0A-158A-4A54-BEED-5E6C185DEA9B}"/>
              </a:ext>
            </a:extLst>
          </p:cNvPr>
          <p:cNvSpPr/>
          <p:nvPr/>
        </p:nvSpPr>
        <p:spPr bwMode="auto">
          <a:xfrm>
            <a:off x="11944787" y="6596378"/>
            <a:ext cx="17737" cy="4434"/>
          </a:xfrm>
          <a:custGeom>
            <a:avLst/>
            <a:gdLst>
              <a:gd name="T0" fmla="*/ 0 w 4"/>
              <a:gd name="T1" fmla="*/ 0 h 1"/>
              <a:gd name="T2" fmla="*/ 4 w 4"/>
              <a:gd name="T3" fmla="*/ 0 h 1"/>
              <a:gd name="T4" fmla="*/ 2 w 4"/>
              <a:gd name="T5" fmla="*/ 1 h 1"/>
              <a:gd name="T6" fmla="*/ 2 w 4"/>
              <a:gd name="T7" fmla="*/ 1 h 1"/>
              <a:gd name="T8" fmla="*/ 2 w 4"/>
              <a:gd name="T9" fmla="*/ 0 h 1"/>
              <a:gd name="T10" fmla="*/ 0 w 4"/>
              <a:gd name="T11" fmla="*/ 0 h 1"/>
            </a:gdLst>
            <a:ahLst/>
            <a:cxnLst>
              <a:cxn ang="0">
                <a:pos x="T0" y="T1"/>
              </a:cxn>
              <a:cxn ang="0">
                <a:pos x="T2" y="T3"/>
              </a:cxn>
              <a:cxn ang="0">
                <a:pos x="T4" y="T5"/>
              </a:cxn>
              <a:cxn ang="0">
                <a:pos x="T6" y="T7"/>
              </a:cxn>
              <a:cxn ang="0">
                <a:pos x="T8" y="T9"/>
              </a:cxn>
              <a:cxn ang="0">
                <a:pos x="T10" y="T11"/>
              </a:cxn>
            </a:cxnLst>
            <a:rect l="0" t="0" r="r" b="b"/>
            <a:pathLst>
              <a:path w="4" h="1">
                <a:moveTo>
                  <a:pt x="0" y="0"/>
                </a:moveTo>
                <a:lnTo>
                  <a:pt x="4" y="0"/>
                </a:lnTo>
                <a:lnTo>
                  <a:pt x="2" y="1"/>
                </a:lnTo>
                <a:lnTo>
                  <a:pt x="2" y="1"/>
                </a:lnTo>
                <a:lnTo>
                  <a:pt x="2" y="0"/>
                </a:lnTo>
                <a:lnTo>
                  <a:pt x="0"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32" name="íṡlîďè">
            <a:extLst>
              <a:ext uri="{FF2B5EF4-FFF2-40B4-BE49-F238E27FC236}">
                <a16:creationId xmlns:a16="http://schemas.microsoft.com/office/drawing/2014/main" id="{D71AC6DB-F9E6-463F-8C1A-11D3FED35DCF}"/>
              </a:ext>
            </a:extLst>
          </p:cNvPr>
          <p:cNvSpPr/>
          <p:nvPr/>
        </p:nvSpPr>
        <p:spPr bwMode="auto">
          <a:xfrm>
            <a:off x="11953655" y="6583076"/>
            <a:ext cx="13303" cy="4434"/>
          </a:xfrm>
          <a:custGeom>
            <a:avLst/>
            <a:gdLst>
              <a:gd name="T0" fmla="*/ 3 w 3"/>
              <a:gd name="T1" fmla="*/ 0 h 1"/>
              <a:gd name="T2" fmla="*/ 3 w 3"/>
              <a:gd name="T3" fmla="*/ 1 h 1"/>
              <a:gd name="T4" fmla="*/ 0 w 3"/>
              <a:gd name="T5" fmla="*/ 0 h 1"/>
              <a:gd name="T6" fmla="*/ 2 w 3"/>
              <a:gd name="T7" fmla="*/ 0 h 1"/>
              <a:gd name="T8" fmla="*/ 3 w 3"/>
              <a:gd name="T9" fmla="*/ 0 h 1"/>
              <a:gd name="T10" fmla="*/ 3 w 3"/>
              <a:gd name="T11" fmla="*/ 0 h 1"/>
            </a:gdLst>
            <a:ahLst/>
            <a:cxnLst>
              <a:cxn ang="0">
                <a:pos x="T0" y="T1"/>
              </a:cxn>
              <a:cxn ang="0">
                <a:pos x="T2" y="T3"/>
              </a:cxn>
              <a:cxn ang="0">
                <a:pos x="T4" y="T5"/>
              </a:cxn>
              <a:cxn ang="0">
                <a:pos x="T6" y="T7"/>
              </a:cxn>
              <a:cxn ang="0">
                <a:pos x="T8" y="T9"/>
              </a:cxn>
              <a:cxn ang="0">
                <a:pos x="T10" y="T11"/>
              </a:cxn>
            </a:cxnLst>
            <a:rect l="0" t="0" r="r" b="b"/>
            <a:pathLst>
              <a:path w="3" h="1">
                <a:moveTo>
                  <a:pt x="3" y="0"/>
                </a:moveTo>
                <a:lnTo>
                  <a:pt x="3" y="1"/>
                </a:lnTo>
                <a:lnTo>
                  <a:pt x="0" y="0"/>
                </a:lnTo>
                <a:lnTo>
                  <a:pt x="2" y="0"/>
                </a:lnTo>
                <a:lnTo>
                  <a:pt x="3" y="0"/>
                </a:lnTo>
                <a:lnTo>
                  <a:pt x="3"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33" name="ï$ḻîdè">
            <a:extLst>
              <a:ext uri="{FF2B5EF4-FFF2-40B4-BE49-F238E27FC236}">
                <a16:creationId xmlns:a16="http://schemas.microsoft.com/office/drawing/2014/main" id="{4C6C3F54-4513-4658-86AF-448AAF2FCE6B}"/>
              </a:ext>
            </a:extLst>
          </p:cNvPr>
          <p:cNvSpPr/>
          <p:nvPr/>
        </p:nvSpPr>
        <p:spPr bwMode="auto">
          <a:xfrm>
            <a:off x="11829496" y="6583076"/>
            <a:ext cx="31040" cy="17737"/>
          </a:xfrm>
          <a:custGeom>
            <a:avLst/>
            <a:gdLst>
              <a:gd name="T0" fmla="*/ 0 w 7"/>
              <a:gd name="T1" fmla="*/ 0 h 4"/>
              <a:gd name="T2" fmla="*/ 4 w 7"/>
              <a:gd name="T3" fmla="*/ 0 h 4"/>
              <a:gd name="T4" fmla="*/ 4 w 7"/>
              <a:gd name="T5" fmla="*/ 0 h 4"/>
              <a:gd name="T6" fmla="*/ 5 w 7"/>
              <a:gd name="T7" fmla="*/ 0 h 4"/>
              <a:gd name="T8" fmla="*/ 7 w 7"/>
              <a:gd name="T9" fmla="*/ 0 h 4"/>
              <a:gd name="T10" fmla="*/ 7 w 7"/>
              <a:gd name="T11" fmla="*/ 1 h 4"/>
              <a:gd name="T12" fmla="*/ 5 w 7"/>
              <a:gd name="T13" fmla="*/ 1 h 4"/>
              <a:gd name="T14" fmla="*/ 5 w 7"/>
              <a:gd name="T15" fmla="*/ 3 h 4"/>
              <a:gd name="T16" fmla="*/ 4 w 7"/>
              <a:gd name="T17" fmla="*/ 4 h 4"/>
              <a:gd name="T18" fmla="*/ 4 w 7"/>
              <a:gd name="T19" fmla="*/ 4 h 4"/>
              <a:gd name="T20" fmla="*/ 4 w 7"/>
              <a:gd name="T21" fmla="*/ 3 h 4"/>
              <a:gd name="T22" fmla="*/ 0 w 7"/>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0" y="0"/>
                </a:moveTo>
                <a:lnTo>
                  <a:pt x="4" y="0"/>
                </a:lnTo>
                <a:lnTo>
                  <a:pt x="4" y="0"/>
                </a:lnTo>
                <a:lnTo>
                  <a:pt x="5" y="0"/>
                </a:lnTo>
                <a:lnTo>
                  <a:pt x="7" y="0"/>
                </a:lnTo>
                <a:lnTo>
                  <a:pt x="7" y="1"/>
                </a:lnTo>
                <a:lnTo>
                  <a:pt x="5" y="1"/>
                </a:lnTo>
                <a:lnTo>
                  <a:pt x="5" y="3"/>
                </a:lnTo>
                <a:lnTo>
                  <a:pt x="4" y="4"/>
                </a:lnTo>
                <a:lnTo>
                  <a:pt x="4" y="4"/>
                </a:lnTo>
                <a:lnTo>
                  <a:pt x="4" y="3"/>
                </a:lnTo>
                <a:lnTo>
                  <a:pt x="0"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34" name="ïŝľîḋê">
            <a:extLst>
              <a:ext uri="{FF2B5EF4-FFF2-40B4-BE49-F238E27FC236}">
                <a16:creationId xmlns:a16="http://schemas.microsoft.com/office/drawing/2014/main" id="{E793566E-EB0C-4355-ABDC-B6FEB9BEE5FB}"/>
              </a:ext>
            </a:extLst>
          </p:cNvPr>
          <p:cNvSpPr/>
          <p:nvPr/>
        </p:nvSpPr>
        <p:spPr bwMode="auto">
          <a:xfrm>
            <a:off x="11887141" y="6662893"/>
            <a:ext cx="31040" cy="17737"/>
          </a:xfrm>
          <a:custGeom>
            <a:avLst/>
            <a:gdLst>
              <a:gd name="T0" fmla="*/ 2 w 7"/>
              <a:gd name="T1" fmla="*/ 0 h 4"/>
              <a:gd name="T2" fmla="*/ 5 w 7"/>
              <a:gd name="T3" fmla="*/ 0 h 4"/>
              <a:gd name="T4" fmla="*/ 7 w 7"/>
              <a:gd name="T5" fmla="*/ 0 h 4"/>
              <a:gd name="T6" fmla="*/ 5 w 7"/>
              <a:gd name="T7" fmla="*/ 0 h 4"/>
              <a:gd name="T8" fmla="*/ 4 w 7"/>
              <a:gd name="T9" fmla="*/ 3 h 4"/>
              <a:gd name="T10" fmla="*/ 4 w 7"/>
              <a:gd name="T11" fmla="*/ 3 h 4"/>
              <a:gd name="T12" fmla="*/ 4 w 7"/>
              <a:gd name="T13" fmla="*/ 3 h 4"/>
              <a:gd name="T14" fmla="*/ 4 w 7"/>
              <a:gd name="T15" fmla="*/ 4 h 4"/>
              <a:gd name="T16" fmla="*/ 4 w 7"/>
              <a:gd name="T17" fmla="*/ 3 h 4"/>
              <a:gd name="T18" fmla="*/ 0 w 7"/>
              <a:gd name="T19" fmla="*/ 0 h 4"/>
              <a:gd name="T20" fmla="*/ 0 w 7"/>
              <a:gd name="T21" fmla="*/ 0 h 4"/>
              <a:gd name="T22" fmla="*/ 2 w 7"/>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4">
                <a:moveTo>
                  <a:pt x="2" y="0"/>
                </a:moveTo>
                <a:lnTo>
                  <a:pt x="5" y="0"/>
                </a:lnTo>
                <a:lnTo>
                  <a:pt x="7" y="0"/>
                </a:lnTo>
                <a:lnTo>
                  <a:pt x="5" y="0"/>
                </a:lnTo>
                <a:lnTo>
                  <a:pt x="4" y="3"/>
                </a:lnTo>
                <a:lnTo>
                  <a:pt x="4" y="3"/>
                </a:lnTo>
                <a:lnTo>
                  <a:pt x="4" y="3"/>
                </a:lnTo>
                <a:lnTo>
                  <a:pt x="4" y="4"/>
                </a:lnTo>
                <a:lnTo>
                  <a:pt x="4" y="3"/>
                </a:lnTo>
                <a:lnTo>
                  <a:pt x="0" y="0"/>
                </a:lnTo>
                <a:lnTo>
                  <a:pt x="0" y="0"/>
                </a:lnTo>
                <a:lnTo>
                  <a:pt x="2"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35" name="išlïḓè">
            <a:extLst>
              <a:ext uri="{FF2B5EF4-FFF2-40B4-BE49-F238E27FC236}">
                <a16:creationId xmlns:a16="http://schemas.microsoft.com/office/drawing/2014/main" id="{584C578C-BDC9-486D-AFA4-E94B6EA88A63}"/>
              </a:ext>
            </a:extLst>
          </p:cNvPr>
          <p:cNvSpPr/>
          <p:nvPr/>
        </p:nvSpPr>
        <p:spPr bwMode="auto">
          <a:xfrm>
            <a:off x="11802890" y="6596378"/>
            <a:ext cx="13303" cy="35474"/>
          </a:xfrm>
          <a:custGeom>
            <a:avLst/>
            <a:gdLst>
              <a:gd name="T0" fmla="*/ 0 w 3"/>
              <a:gd name="T1" fmla="*/ 5 h 8"/>
              <a:gd name="T2" fmla="*/ 0 w 3"/>
              <a:gd name="T3" fmla="*/ 3 h 8"/>
              <a:gd name="T4" fmla="*/ 1 w 3"/>
              <a:gd name="T5" fmla="*/ 3 h 8"/>
              <a:gd name="T6" fmla="*/ 1 w 3"/>
              <a:gd name="T7" fmla="*/ 1 h 8"/>
              <a:gd name="T8" fmla="*/ 3 w 3"/>
              <a:gd name="T9" fmla="*/ 0 h 8"/>
              <a:gd name="T10" fmla="*/ 3 w 3"/>
              <a:gd name="T11" fmla="*/ 1 h 8"/>
              <a:gd name="T12" fmla="*/ 3 w 3"/>
              <a:gd name="T13" fmla="*/ 5 h 8"/>
              <a:gd name="T14" fmla="*/ 3 w 3"/>
              <a:gd name="T15" fmla="*/ 6 h 8"/>
              <a:gd name="T16" fmla="*/ 3 w 3"/>
              <a:gd name="T17" fmla="*/ 6 h 8"/>
              <a:gd name="T18" fmla="*/ 3 w 3"/>
              <a:gd name="T19" fmla="*/ 8 h 8"/>
              <a:gd name="T20" fmla="*/ 0 w 3"/>
              <a:gd name="T21" fmla="*/ 5 h 8"/>
              <a:gd name="T22" fmla="*/ 0 w 3"/>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8">
                <a:moveTo>
                  <a:pt x="0" y="5"/>
                </a:moveTo>
                <a:lnTo>
                  <a:pt x="0" y="3"/>
                </a:lnTo>
                <a:lnTo>
                  <a:pt x="1" y="3"/>
                </a:lnTo>
                <a:lnTo>
                  <a:pt x="1" y="1"/>
                </a:lnTo>
                <a:lnTo>
                  <a:pt x="3" y="0"/>
                </a:lnTo>
                <a:lnTo>
                  <a:pt x="3" y="1"/>
                </a:lnTo>
                <a:lnTo>
                  <a:pt x="3" y="5"/>
                </a:lnTo>
                <a:lnTo>
                  <a:pt x="3" y="6"/>
                </a:lnTo>
                <a:lnTo>
                  <a:pt x="3" y="6"/>
                </a:lnTo>
                <a:lnTo>
                  <a:pt x="3" y="8"/>
                </a:lnTo>
                <a:lnTo>
                  <a:pt x="0" y="5"/>
                </a:lnTo>
                <a:lnTo>
                  <a:pt x="0" y="5"/>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36" name="işḻídê">
            <a:extLst>
              <a:ext uri="{FF2B5EF4-FFF2-40B4-BE49-F238E27FC236}">
                <a16:creationId xmlns:a16="http://schemas.microsoft.com/office/drawing/2014/main" id="{CD7086EE-196F-41BF-8F4C-1318B80F9359}"/>
              </a:ext>
            </a:extLst>
          </p:cNvPr>
          <p:cNvSpPr/>
          <p:nvPr/>
        </p:nvSpPr>
        <p:spPr bwMode="auto">
          <a:xfrm>
            <a:off x="11829496" y="6662893"/>
            <a:ext cx="31040" cy="17737"/>
          </a:xfrm>
          <a:custGeom>
            <a:avLst/>
            <a:gdLst>
              <a:gd name="T0" fmla="*/ 4 w 7"/>
              <a:gd name="T1" fmla="*/ 0 h 4"/>
              <a:gd name="T2" fmla="*/ 4 w 7"/>
              <a:gd name="T3" fmla="*/ 0 h 4"/>
              <a:gd name="T4" fmla="*/ 4 w 7"/>
              <a:gd name="T5" fmla="*/ 0 h 4"/>
              <a:gd name="T6" fmla="*/ 5 w 7"/>
              <a:gd name="T7" fmla="*/ 0 h 4"/>
              <a:gd name="T8" fmla="*/ 7 w 7"/>
              <a:gd name="T9" fmla="*/ 0 h 4"/>
              <a:gd name="T10" fmla="*/ 7 w 7"/>
              <a:gd name="T11" fmla="*/ 0 h 4"/>
              <a:gd name="T12" fmla="*/ 5 w 7"/>
              <a:gd name="T13" fmla="*/ 1 h 4"/>
              <a:gd name="T14" fmla="*/ 5 w 7"/>
              <a:gd name="T15" fmla="*/ 3 h 4"/>
              <a:gd name="T16" fmla="*/ 5 w 7"/>
              <a:gd name="T17" fmla="*/ 3 h 4"/>
              <a:gd name="T18" fmla="*/ 4 w 7"/>
              <a:gd name="T19" fmla="*/ 4 h 4"/>
              <a:gd name="T20" fmla="*/ 4 w 7"/>
              <a:gd name="T21" fmla="*/ 4 h 4"/>
              <a:gd name="T22" fmla="*/ 4 w 7"/>
              <a:gd name="T23" fmla="*/ 3 h 4"/>
              <a:gd name="T24" fmla="*/ 0 w 7"/>
              <a:gd name="T25" fmla="*/ 0 h 4"/>
              <a:gd name="T26" fmla="*/ 2 w 7"/>
              <a:gd name="T27" fmla="*/ 0 h 4"/>
              <a:gd name="T28" fmla="*/ 2 w 7"/>
              <a:gd name="T29" fmla="*/ 0 h 4"/>
              <a:gd name="T30" fmla="*/ 4 w 7"/>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4">
                <a:moveTo>
                  <a:pt x="4" y="0"/>
                </a:moveTo>
                <a:lnTo>
                  <a:pt x="4" y="0"/>
                </a:lnTo>
                <a:lnTo>
                  <a:pt x="4" y="0"/>
                </a:lnTo>
                <a:lnTo>
                  <a:pt x="5" y="0"/>
                </a:lnTo>
                <a:lnTo>
                  <a:pt x="7" y="0"/>
                </a:lnTo>
                <a:lnTo>
                  <a:pt x="7" y="0"/>
                </a:lnTo>
                <a:lnTo>
                  <a:pt x="5" y="1"/>
                </a:lnTo>
                <a:lnTo>
                  <a:pt x="5" y="3"/>
                </a:lnTo>
                <a:lnTo>
                  <a:pt x="5" y="3"/>
                </a:lnTo>
                <a:lnTo>
                  <a:pt x="4" y="4"/>
                </a:lnTo>
                <a:lnTo>
                  <a:pt x="4" y="4"/>
                </a:lnTo>
                <a:lnTo>
                  <a:pt x="4" y="3"/>
                </a:lnTo>
                <a:lnTo>
                  <a:pt x="0" y="0"/>
                </a:lnTo>
                <a:lnTo>
                  <a:pt x="2" y="0"/>
                </a:lnTo>
                <a:lnTo>
                  <a:pt x="2" y="0"/>
                </a:lnTo>
                <a:lnTo>
                  <a:pt x="4"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37" name="ïşḻîdè">
            <a:extLst>
              <a:ext uri="{FF2B5EF4-FFF2-40B4-BE49-F238E27FC236}">
                <a16:creationId xmlns:a16="http://schemas.microsoft.com/office/drawing/2014/main" id="{7FD6A001-DA13-4D1C-A006-B35E9D34FD4F}"/>
              </a:ext>
            </a:extLst>
          </p:cNvPr>
          <p:cNvSpPr/>
          <p:nvPr/>
        </p:nvSpPr>
        <p:spPr bwMode="auto">
          <a:xfrm>
            <a:off x="11723073" y="6662893"/>
            <a:ext cx="26605" cy="17737"/>
          </a:xfrm>
          <a:custGeom>
            <a:avLst/>
            <a:gdLst>
              <a:gd name="T0" fmla="*/ 5 w 6"/>
              <a:gd name="T1" fmla="*/ 0 h 4"/>
              <a:gd name="T2" fmla="*/ 6 w 6"/>
              <a:gd name="T3" fmla="*/ 0 h 4"/>
              <a:gd name="T4" fmla="*/ 6 w 6"/>
              <a:gd name="T5" fmla="*/ 1 h 4"/>
              <a:gd name="T6" fmla="*/ 5 w 6"/>
              <a:gd name="T7" fmla="*/ 3 h 4"/>
              <a:gd name="T8" fmla="*/ 5 w 6"/>
              <a:gd name="T9" fmla="*/ 4 h 4"/>
              <a:gd name="T10" fmla="*/ 3 w 6"/>
              <a:gd name="T11" fmla="*/ 4 h 4"/>
              <a:gd name="T12" fmla="*/ 3 w 6"/>
              <a:gd name="T13" fmla="*/ 3 h 4"/>
              <a:gd name="T14" fmla="*/ 0 w 6"/>
              <a:gd name="T15" fmla="*/ 0 h 4"/>
              <a:gd name="T16" fmla="*/ 2 w 6"/>
              <a:gd name="T17" fmla="*/ 0 h 4"/>
              <a:gd name="T18" fmla="*/ 5 w 6"/>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5" y="0"/>
                </a:moveTo>
                <a:lnTo>
                  <a:pt x="6" y="0"/>
                </a:lnTo>
                <a:lnTo>
                  <a:pt x="6" y="1"/>
                </a:lnTo>
                <a:lnTo>
                  <a:pt x="5" y="3"/>
                </a:lnTo>
                <a:lnTo>
                  <a:pt x="5" y="4"/>
                </a:lnTo>
                <a:lnTo>
                  <a:pt x="3" y="4"/>
                </a:lnTo>
                <a:lnTo>
                  <a:pt x="3" y="3"/>
                </a:lnTo>
                <a:lnTo>
                  <a:pt x="0" y="0"/>
                </a:lnTo>
                <a:lnTo>
                  <a:pt x="2" y="0"/>
                </a:lnTo>
                <a:lnTo>
                  <a:pt x="5"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38" name="ïş1îḓé">
            <a:extLst>
              <a:ext uri="{FF2B5EF4-FFF2-40B4-BE49-F238E27FC236}">
                <a16:creationId xmlns:a16="http://schemas.microsoft.com/office/drawing/2014/main" id="{0C1430AA-2772-476C-BB2F-8D0D3DFA7686}"/>
              </a:ext>
            </a:extLst>
          </p:cNvPr>
          <p:cNvSpPr/>
          <p:nvPr/>
        </p:nvSpPr>
        <p:spPr bwMode="auto">
          <a:xfrm>
            <a:off x="11643257" y="6600812"/>
            <a:ext cx="8868" cy="31040"/>
          </a:xfrm>
          <a:custGeom>
            <a:avLst/>
            <a:gdLst>
              <a:gd name="T0" fmla="*/ 0 w 2"/>
              <a:gd name="T1" fmla="*/ 4 h 7"/>
              <a:gd name="T2" fmla="*/ 0 w 2"/>
              <a:gd name="T3" fmla="*/ 4 h 7"/>
              <a:gd name="T4" fmla="*/ 2 w 2"/>
              <a:gd name="T5" fmla="*/ 0 h 7"/>
              <a:gd name="T6" fmla="*/ 2 w 2"/>
              <a:gd name="T7" fmla="*/ 0 h 7"/>
              <a:gd name="T8" fmla="*/ 2 w 2"/>
              <a:gd name="T9" fmla="*/ 0 h 7"/>
              <a:gd name="T10" fmla="*/ 2 w 2"/>
              <a:gd name="T11" fmla="*/ 5 h 7"/>
              <a:gd name="T12" fmla="*/ 2 w 2"/>
              <a:gd name="T13" fmla="*/ 7 h 7"/>
              <a:gd name="T14" fmla="*/ 2 w 2"/>
              <a:gd name="T15" fmla="*/ 7 h 7"/>
              <a:gd name="T16" fmla="*/ 0 w 2"/>
              <a:gd name="T17" fmla="*/ 4 h 7"/>
              <a:gd name="T18" fmla="*/ 0 w 2"/>
              <a:gd name="T19"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7">
                <a:moveTo>
                  <a:pt x="0" y="4"/>
                </a:moveTo>
                <a:lnTo>
                  <a:pt x="0" y="4"/>
                </a:lnTo>
                <a:lnTo>
                  <a:pt x="2" y="0"/>
                </a:lnTo>
                <a:lnTo>
                  <a:pt x="2" y="0"/>
                </a:lnTo>
                <a:lnTo>
                  <a:pt x="2" y="0"/>
                </a:lnTo>
                <a:lnTo>
                  <a:pt x="2" y="5"/>
                </a:lnTo>
                <a:lnTo>
                  <a:pt x="2" y="7"/>
                </a:lnTo>
                <a:lnTo>
                  <a:pt x="2" y="7"/>
                </a:lnTo>
                <a:lnTo>
                  <a:pt x="0" y="4"/>
                </a:lnTo>
                <a:lnTo>
                  <a:pt x="0" y="4"/>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39" name="ïṥ1íďè">
            <a:extLst>
              <a:ext uri="{FF2B5EF4-FFF2-40B4-BE49-F238E27FC236}">
                <a16:creationId xmlns:a16="http://schemas.microsoft.com/office/drawing/2014/main" id="{AB186A5C-B59C-47B5-93A7-8374B62FEAB1}"/>
              </a:ext>
            </a:extLst>
          </p:cNvPr>
          <p:cNvSpPr/>
          <p:nvPr/>
        </p:nvSpPr>
        <p:spPr bwMode="auto">
          <a:xfrm>
            <a:off x="12082249" y="6778184"/>
            <a:ext cx="35474" cy="22171"/>
          </a:xfrm>
          <a:custGeom>
            <a:avLst/>
            <a:gdLst>
              <a:gd name="T0" fmla="*/ 3 w 8"/>
              <a:gd name="T1" fmla="*/ 5 h 5"/>
              <a:gd name="T2" fmla="*/ 2 w 8"/>
              <a:gd name="T3" fmla="*/ 5 h 5"/>
              <a:gd name="T4" fmla="*/ 0 w 8"/>
              <a:gd name="T5" fmla="*/ 5 h 5"/>
              <a:gd name="T6" fmla="*/ 2 w 8"/>
              <a:gd name="T7" fmla="*/ 3 h 5"/>
              <a:gd name="T8" fmla="*/ 2 w 8"/>
              <a:gd name="T9" fmla="*/ 3 h 5"/>
              <a:gd name="T10" fmla="*/ 2 w 8"/>
              <a:gd name="T11" fmla="*/ 0 h 5"/>
              <a:gd name="T12" fmla="*/ 2 w 8"/>
              <a:gd name="T13" fmla="*/ 0 h 5"/>
              <a:gd name="T14" fmla="*/ 5 w 8"/>
              <a:gd name="T15" fmla="*/ 3 h 5"/>
              <a:gd name="T16" fmla="*/ 8 w 8"/>
              <a:gd name="T17" fmla="*/ 5 h 5"/>
              <a:gd name="T18" fmla="*/ 8 w 8"/>
              <a:gd name="T19" fmla="*/ 5 h 5"/>
              <a:gd name="T20" fmla="*/ 7 w 8"/>
              <a:gd name="T21" fmla="*/ 5 h 5"/>
              <a:gd name="T22" fmla="*/ 3 w 8"/>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5">
                <a:moveTo>
                  <a:pt x="3" y="5"/>
                </a:moveTo>
                <a:lnTo>
                  <a:pt x="2" y="5"/>
                </a:lnTo>
                <a:lnTo>
                  <a:pt x="0" y="5"/>
                </a:lnTo>
                <a:lnTo>
                  <a:pt x="2" y="3"/>
                </a:lnTo>
                <a:lnTo>
                  <a:pt x="2" y="3"/>
                </a:lnTo>
                <a:lnTo>
                  <a:pt x="2" y="0"/>
                </a:lnTo>
                <a:lnTo>
                  <a:pt x="2" y="0"/>
                </a:lnTo>
                <a:lnTo>
                  <a:pt x="5" y="3"/>
                </a:lnTo>
                <a:lnTo>
                  <a:pt x="8" y="5"/>
                </a:lnTo>
                <a:lnTo>
                  <a:pt x="8" y="5"/>
                </a:lnTo>
                <a:lnTo>
                  <a:pt x="7" y="5"/>
                </a:lnTo>
                <a:lnTo>
                  <a:pt x="3" y="5"/>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40" name="ïŝļíḍé">
            <a:extLst>
              <a:ext uri="{FF2B5EF4-FFF2-40B4-BE49-F238E27FC236}">
                <a16:creationId xmlns:a16="http://schemas.microsoft.com/office/drawing/2014/main" id="{6F8BCE16-1267-4699-8B05-7CBA43EA00DC}"/>
              </a:ext>
            </a:extLst>
          </p:cNvPr>
          <p:cNvSpPr/>
          <p:nvPr/>
        </p:nvSpPr>
        <p:spPr bwMode="auto">
          <a:xfrm>
            <a:off x="12055642" y="6733840"/>
            <a:ext cx="26605" cy="22171"/>
          </a:xfrm>
          <a:custGeom>
            <a:avLst/>
            <a:gdLst>
              <a:gd name="T0" fmla="*/ 0 w 6"/>
              <a:gd name="T1" fmla="*/ 0 h 5"/>
              <a:gd name="T2" fmla="*/ 1 w 6"/>
              <a:gd name="T3" fmla="*/ 0 h 5"/>
              <a:gd name="T4" fmla="*/ 3 w 6"/>
              <a:gd name="T5" fmla="*/ 0 h 5"/>
              <a:gd name="T6" fmla="*/ 6 w 6"/>
              <a:gd name="T7" fmla="*/ 0 h 5"/>
              <a:gd name="T8" fmla="*/ 6 w 6"/>
              <a:gd name="T9" fmla="*/ 0 h 5"/>
              <a:gd name="T10" fmla="*/ 6 w 6"/>
              <a:gd name="T11" fmla="*/ 0 h 5"/>
              <a:gd name="T12" fmla="*/ 6 w 6"/>
              <a:gd name="T13" fmla="*/ 3 h 5"/>
              <a:gd name="T14" fmla="*/ 6 w 6"/>
              <a:gd name="T15" fmla="*/ 5 h 5"/>
              <a:gd name="T16" fmla="*/ 3 w 6"/>
              <a:gd name="T17" fmla="*/ 3 h 5"/>
              <a:gd name="T18" fmla="*/ 0 w 6"/>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0" y="0"/>
                </a:moveTo>
                <a:lnTo>
                  <a:pt x="1" y="0"/>
                </a:lnTo>
                <a:lnTo>
                  <a:pt x="3" y="0"/>
                </a:lnTo>
                <a:lnTo>
                  <a:pt x="6" y="0"/>
                </a:lnTo>
                <a:lnTo>
                  <a:pt x="6" y="0"/>
                </a:lnTo>
                <a:lnTo>
                  <a:pt x="6" y="0"/>
                </a:lnTo>
                <a:lnTo>
                  <a:pt x="6" y="3"/>
                </a:lnTo>
                <a:lnTo>
                  <a:pt x="6" y="5"/>
                </a:lnTo>
                <a:lnTo>
                  <a:pt x="3" y="3"/>
                </a:lnTo>
                <a:lnTo>
                  <a:pt x="0"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41" name="iṩļïḑe">
            <a:extLst>
              <a:ext uri="{FF2B5EF4-FFF2-40B4-BE49-F238E27FC236}">
                <a16:creationId xmlns:a16="http://schemas.microsoft.com/office/drawing/2014/main" id="{126E4614-03A4-4EAC-9D45-4631595EF146}"/>
              </a:ext>
            </a:extLst>
          </p:cNvPr>
          <p:cNvSpPr/>
          <p:nvPr/>
        </p:nvSpPr>
        <p:spPr bwMode="auto">
          <a:xfrm>
            <a:off x="12091117" y="6747143"/>
            <a:ext cx="22171" cy="31040"/>
          </a:xfrm>
          <a:custGeom>
            <a:avLst/>
            <a:gdLst>
              <a:gd name="T0" fmla="*/ 5 w 5"/>
              <a:gd name="T1" fmla="*/ 7 h 7"/>
              <a:gd name="T2" fmla="*/ 1 w 5"/>
              <a:gd name="T3" fmla="*/ 5 h 7"/>
              <a:gd name="T4" fmla="*/ 0 w 5"/>
              <a:gd name="T5" fmla="*/ 3 h 7"/>
              <a:gd name="T6" fmla="*/ 0 w 5"/>
              <a:gd name="T7" fmla="*/ 3 h 7"/>
              <a:gd name="T8" fmla="*/ 1 w 5"/>
              <a:gd name="T9" fmla="*/ 0 h 7"/>
              <a:gd name="T10" fmla="*/ 1 w 5"/>
              <a:gd name="T11" fmla="*/ 0 h 7"/>
              <a:gd name="T12" fmla="*/ 1 w 5"/>
              <a:gd name="T13" fmla="*/ 0 h 7"/>
              <a:gd name="T14" fmla="*/ 5 w 5"/>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5" y="7"/>
                </a:moveTo>
                <a:lnTo>
                  <a:pt x="1" y="5"/>
                </a:lnTo>
                <a:lnTo>
                  <a:pt x="0" y="3"/>
                </a:lnTo>
                <a:lnTo>
                  <a:pt x="0" y="3"/>
                </a:lnTo>
                <a:lnTo>
                  <a:pt x="1" y="0"/>
                </a:lnTo>
                <a:lnTo>
                  <a:pt x="1" y="0"/>
                </a:lnTo>
                <a:lnTo>
                  <a:pt x="1" y="0"/>
                </a:lnTo>
                <a:lnTo>
                  <a:pt x="5" y="7"/>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42" name="îṩ1ïḓe">
            <a:extLst>
              <a:ext uri="{FF2B5EF4-FFF2-40B4-BE49-F238E27FC236}">
                <a16:creationId xmlns:a16="http://schemas.microsoft.com/office/drawing/2014/main" id="{4938681F-CB8D-45BB-B693-94B0306A99EB}"/>
              </a:ext>
            </a:extLst>
          </p:cNvPr>
          <p:cNvSpPr/>
          <p:nvPr/>
        </p:nvSpPr>
        <p:spPr bwMode="auto">
          <a:xfrm>
            <a:off x="12046774" y="6698367"/>
            <a:ext cx="31040" cy="22171"/>
          </a:xfrm>
          <a:custGeom>
            <a:avLst/>
            <a:gdLst>
              <a:gd name="T0" fmla="*/ 7 w 7"/>
              <a:gd name="T1" fmla="*/ 5 h 5"/>
              <a:gd name="T2" fmla="*/ 5 w 7"/>
              <a:gd name="T3" fmla="*/ 5 h 5"/>
              <a:gd name="T4" fmla="*/ 2 w 7"/>
              <a:gd name="T5" fmla="*/ 5 h 5"/>
              <a:gd name="T6" fmla="*/ 0 w 7"/>
              <a:gd name="T7" fmla="*/ 5 h 5"/>
              <a:gd name="T8" fmla="*/ 0 w 7"/>
              <a:gd name="T9" fmla="*/ 5 h 5"/>
              <a:gd name="T10" fmla="*/ 2 w 7"/>
              <a:gd name="T11" fmla="*/ 3 h 5"/>
              <a:gd name="T12" fmla="*/ 3 w 7"/>
              <a:gd name="T13" fmla="*/ 1 h 5"/>
              <a:gd name="T14" fmla="*/ 3 w 7"/>
              <a:gd name="T15" fmla="*/ 0 h 5"/>
              <a:gd name="T16" fmla="*/ 5 w 7"/>
              <a:gd name="T17" fmla="*/ 3 h 5"/>
              <a:gd name="T18" fmla="*/ 7 w 7"/>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7" y="5"/>
                </a:moveTo>
                <a:lnTo>
                  <a:pt x="5" y="5"/>
                </a:lnTo>
                <a:lnTo>
                  <a:pt x="2" y="5"/>
                </a:lnTo>
                <a:lnTo>
                  <a:pt x="0" y="5"/>
                </a:lnTo>
                <a:lnTo>
                  <a:pt x="0" y="5"/>
                </a:lnTo>
                <a:lnTo>
                  <a:pt x="2" y="3"/>
                </a:lnTo>
                <a:lnTo>
                  <a:pt x="3" y="1"/>
                </a:lnTo>
                <a:lnTo>
                  <a:pt x="3" y="0"/>
                </a:lnTo>
                <a:lnTo>
                  <a:pt x="5" y="3"/>
                </a:lnTo>
                <a:lnTo>
                  <a:pt x="7" y="5"/>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43" name="íśļïḑè">
            <a:extLst>
              <a:ext uri="{FF2B5EF4-FFF2-40B4-BE49-F238E27FC236}">
                <a16:creationId xmlns:a16="http://schemas.microsoft.com/office/drawing/2014/main" id="{017DBC27-9224-4EBB-AC81-B7833FF4880A}"/>
              </a:ext>
            </a:extLst>
          </p:cNvPr>
          <p:cNvSpPr/>
          <p:nvPr/>
        </p:nvSpPr>
        <p:spPr bwMode="auto">
          <a:xfrm>
            <a:off x="12060077" y="6622985"/>
            <a:ext cx="8868" cy="8868"/>
          </a:xfrm>
          <a:custGeom>
            <a:avLst/>
            <a:gdLst>
              <a:gd name="T0" fmla="*/ 0 w 2"/>
              <a:gd name="T1" fmla="*/ 0 h 2"/>
              <a:gd name="T2" fmla="*/ 0 w 2"/>
              <a:gd name="T3" fmla="*/ 0 h 2"/>
              <a:gd name="T4" fmla="*/ 0 w 2"/>
              <a:gd name="T5" fmla="*/ 0 h 2"/>
              <a:gd name="T6" fmla="*/ 2 w 2"/>
              <a:gd name="T7" fmla="*/ 2 h 2"/>
              <a:gd name="T8" fmla="*/ 2 w 2"/>
              <a:gd name="T9" fmla="*/ 2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0" y="0"/>
                </a:lnTo>
                <a:lnTo>
                  <a:pt x="0" y="0"/>
                </a:lnTo>
                <a:lnTo>
                  <a:pt x="2" y="2"/>
                </a:lnTo>
                <a:lnTo>
                  <a:pt x="2" y="2"/>
                </a:lnTo>
                <a:lnTo>
                  <a:pt x="0"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44" name="ïṩ1îde">
            <a:extLst>
              <a:ext uri="{FF2B5EF4-FFF2-40B4-BE49-F238E27FC236}">
                <a16:creationId xmlns:a16="http://schemas.microsoft.com/office/drawing/2014/main" id="{D2428200-8B18-40BA-930B-BE5332548AD5}"/>
              </a:ext>
            </a:extLst>
          </p:cNvPr>
          <p:cNvSpPr/>
          <p:nvPr/>
        </p:nvSpPr>
        <p:spPr bwMode="auto">
          <a:xfrm>
            <a:off x="11860535" y="5993320"/>
            <a:ext cx="35474" cy="0"/>
          </a:xfrm>
          <a:custGeom>
            <a:avLst/>
            <a:gdLst>
              <a:gd name="T0" fmla="*/ 8 w 8"/>
              <a:gd name="T1" fmla="*/ 8 w 8"/>
              <a:gd name="T2" fmla="*/ 5 w 8"/>
              <a:gd name="T3" fmla="*/ 3 w 8"/>
              <a:gd name="T4" fmla="*/ 0 w 8"/>
              <a:gd name="T5" fmla="*/ 0 w 8"/>
              <a:gd name="T6" fmla="*/ 1 w 8"/>
              <a:gd name="T7" fmla="*/ 5 w 8"/>
              <a:gd name="T8" fmla="*/ 8 w 8"/>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8">
                <a:moveTo>
                  <a:pt x="8" y="0"/>
                </a:moveTo>
                <a:lnTo>
                  <a:pt x="8" y="0"/>
                </a:lnTo>
                <a:lnTo>
                  <a:pt x="5" y="0"/>
                </a:lnTo>
                <a:lnTo>
                  <a:pt x="3" y="0"/>
                </a:lnTo>
                <a:lnTo>
                  <a:pt x="0" y="0"/>
                </a:lnTo>
                <a:lnTo>
                  <a:pt x="0" y="0"/>
                </a:lnTo>
                <a:lnTo>
                  <a:pt x="1" y="0"/>
                </a:lnTo>
                <a:lnTo>
                  <a:pt x="5" y="0"/>
                </a:lnTo>
                <a:lnTo>
                  <a:pt x="8"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45" name="iṣ1îḍè">
            <a:extLst>
              <a:ext uri="{FF2B5EF4-FFF2-40B4-BE49-F238E27FC236}">
                <a16:creationId xmlns:a16="http://schemas.microsoft.com/office/drawing/2014/main" id="{09E9FF22-5041-463E-9D76-1940F31ED08A}"/>
              </a:ext>
            </a:extLst>
          </p:cNvPr>
          <p:cNvSpPr/>
          <p:nvPr/>
        </p:nvSpPr>
        <p:spPr bwMode="auto">
          <a:xfrm>
            <a:off x="11652125" y="5150809"/>
            <a:ext cx="22171" cy="17737"/>
          </a:xfrm>
          <a:custGeom>
            <a:avLst/>
            <a:gdLst>
              <a:gd name="T0" fmla="*/ 5 w 5"/>
              <a:gd name="T1" fmla="*/ 4 h 4"/>
              <a:gd name="T2" fmla="*/ 3 w 5"/>
              <a:gd name="T3" fmla="*/ 4 h 4"/>
              <a:gd name="T4" fmla="*/ 1 w 5"/>
              <a:gd name="T5" fmla="*/ 4 h 4"/>
              <a:gd name="T6" fmla="*/ 0 w 5"/>
              <a:gd name="T7" fmla="*/ 4 h 4"/>
              <a:gd name="T8" fmla="*/ 1 w 5"/>
              <a:gd name="T9" fmla="*/ 2 h 4"/>
              <a:gd name="T10" fmla="*/ 1 w 5"/>
              <a:gd name="T11" fmla="*/ 2 h 4"/>
              <a:gd name="T12" fmla="*/ 3 w 5"/>
              <a:gd name="T13" fmla="*/ 0 h 4"/>
              <a:gd name="T14" fmla="*/ 3 w 5"/>
              <a:gd name="T15" fmla="*/ 0 h 4"/>
              <a:gd name="T16" fmla="*/ 3 w 5"/>
              <a:gd name="T17" fmla="*/ 2 h 4"/>
              <a:gd name="T18" fmla="*/ 5 w 5"/>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4">
                <a:moveTo>
                  <a:pt x="5" y="4"/>
                </a:moveTo>
                <a:lnTo>
                  <a:pt x="3" y="4"/>
                </a:lnTo>
                <a:lnTo>
                  <a:pt x="1" y="4"/>
                </a:lnTo>
                <a:lnTo>
                  <a:pt x="0" y="4"/>
                </a:lnTo>
                <a:lnTo>
                  <a:pt x="1" y="2"/>
                </a:lnTo>
                <a:lnTo>
                  <a:pt x="1" y="2"/>
                </a:lnTo>
                <a:lnTo>
                  <a:pt x="3" y="0"/>
                </a:lnTo>
                <a:lnTo>
                  <a:pt x="3" y="0"/>
                </a:lnTo>
                <a:lnTo>
                  <a:pt x="3" y="2"/>
                </a:lnTo>
                <a:lnTo>
                  <a:pt x="5" y="4"/>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46" name="íṥļiḑé">
            <a:extLst>
              <a:ext uri="{FF2B5EF4-FFF2-40B4-BE49-F238E27FC236}">
                <a16:creationId xmlns:a16="http://schemas.microsoft.com/office/drawing/2014/main" id="{53D2AF78-AC32-473B-972E-23A20BD180DC}"/>
              </a:ext>
            </a:extLst>
          </p:cNvPr>
          <p:cNvSpPr/>
          <p:nvPr/>
        </p:nvSpPr>
        <p:spPr bwMode="auto">
          <a:xfrm>
            <a:off x="11643257" y="5133072"/>
            <a:ext cx="13303" cy="17737"/>
          </a:xfrm>
          <a:custGeom>
            <a:avLst/>
            <a:gdLst>
              <a:gd name="T0" fmla="*/ 0 w 3"/>
              <a:gd name="T1" fmla="*/ 0 h 4"/>
              <a:gd name="T2" fmla="*/ 3 w 3"/>
              <a:gd name="T3" fmla="*/ 1 h 4"/>
              <a:gd name="T4" fmla="*/ 2 w 3"/>
              <a:gd name="T5" fmla="*/ 3 h 4"/>
              <a:gd name="T6" fmla="*/ 2 w 3"/>
              <a:gd name="T7" fmla="*/ 3 h 4"/>
              <a:gd name="T8" fmla="*/ 0 w 3"/>
              <a:gd name="T9" fmla="*/ 4 h 4"/>
              <a:gd name="T10" fmla="*/ 0 w 3"/>
              <a:gd name="T11" fmla="*/ 3 h 4"/>
              <a:gd name="T12" fmla="*/ 0 w 3"/>
              <a:gd name="T13" fmla="*/ 1 h 4"/>
              <a:gd name="T14" fmla="*/ 0 w 3"/>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0" y="0"/>
                </a:moveTo>
                <a:lnTo>
                  <a:pt x="3" y="1"/>
                </a:lnTo>
                <a:lnTo>
                  <a:pt x="2" y="3"/>
                </a:lnTo>
                <a:lnTo>
                  <a:pt x="2" y="3"/>
                </a:lnTo>
                <a:lnTo>
                  <a:pt x="0" y="4"/>
                </a:lnTo>
                <a:lnTo>
                  <a:pt x="0" y="3"/>
                </a:lnTo>
                <a:lnTo>
                  <a:pt x="0" y="1"/>
                </a:lnTo>
                <a:lnTo>
                  <a:pt x="0"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47" name="ïşľidè">
            <a:extLst>
              <a:ext uri="{FF2B5EF4-FFF2-40B4-BE49-F238E27FC236}">
                <a16:creationId xmlns:a16="http://schemas.microsoft.com/office/drawing/2014/main" id="{646472F1-213D-4516-A45D-102897A8368F}"/>
              </a:ext>
            </a:extLst>
          </p:cNvPr>
          <p:cNvSpPr/>
          <p:nvPr/>
        </p:nvSpPr>
        <p:spPr bwMode="auto">
          <a:xfrm>
            <a:off x="11652125" y="5093164"/>
            <a:ext cx="22171" cy="8868"/>
          </a:xfrm>
          <a:custGeom>
            <a:avLst/>
            <a:gdLst>
              <a:gd name="T0" fmla="*/ 1 w 5"/>
              <a:gd name="T1" fmla="*/ 2 h 2"/>
              <a:gd name="T2" fmla="*/ 0 w 5"/>
              <a:gd name="T3" fmla="*/ 2 h 2"/>
              <a:gd name="T4" fmla="*/ 0 w 5"/>
              <a:gd name="T5" fmla="*/ 2 h 2"/>
              <a:gd name="T6" fmla="*/ 1 w 5"/>
              <a:gd name="T7" fmla="*/ 0 h 2"/>
              <a:gd name="T8" fmla="*/ 3 w 5"/>
              <a:gd name="T9" fmla="*/ 0 h 2"/>
              <a:gd name="T10" fmla="*/ 5 w 5"/>
              <a:gd name="T11" fmla="*/ 2 h 2"/>
              <a:gd name="T12" fmla="*/ 5 w 5"/>
              <a:gd name="T13" fmla="*/ 2 h 2"/>
              <a:gd name="T14" fmla="*/ 1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1" y="2"/>
                </a:moveTo>
                <a:lnTo>
                  <a:pt x="0" y="2"/>
                </a:lnTo>
                <a:lnTo>
                  <a:pt x="0" y="2"/>
                </a:lnTo>
                <a:lnTo>
                  <a:pt x="1" y="0"/>
                </a:lnTo>
                <a:lnTo>
                  <a:pt x="3" y="0"/>
                </a:lnTo>
                <a:lnTo>
                  <a:pt x="5" y="2"/>
                </a:lnTo>
                <a:lnTo>
                  <a:pt x="5" y="2"/>
                </a:lnTo>
                <a:lnTo>
                  <a:pt x="1" y="2"/>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48" name="îSḻïďé">
            <a:extLst>
              <a:ext uri="{FF2B5EF4-FFF2-40B4-BE49-F238E27FC236}">
                <a16:creationId xmlns:a16="http://schemas.microsoft.com/office/drawing/2014/main" id="{252DFF47-7CD0-4685-B1C1-65B3D63587D3}"/>
              </a:ext>
            </a:extLst>
          </p:cNvPr>
          <p:cNvSpPr/>
          <p:nvPr/>
        </p:nvSpPr>
        <p:spPr bwMode="auto">
          <a:xfrm>
            <a:off x="11652125" y="5057691"/>
            <a:ext cx="22171" cy="8868"/>
          </a:xfrm>
          <a:custGeom>
            <a:avLst/>
            <a:gdLst>
              <a:gd name="T0" fmla="*/ 5 w 5"/>
              <a:gd name="T1" fmla="*/ 0 h 2"/>
              <a:gd name="T2" fmla="*/ 3 w 5"/>
              <a:gd name="T3" fmla="*/ 2 h 2"/>
              <a:gd name="T4" fmla="*/ 3 w 5"/>
              <a:gd name="T5" fmla="*/ 2 h 2"/>
              <a:gd name="T6" fmla="*/ 0 w 5"/>
              <a:gd name="T7" fmla="*/ 0 h 2"/>
              <a:gd name="T8" fmla="*/ 0 w 5"/>
              <a:gd name="T9" fmla="*/ 0 h 2"/>
              <a:gd name="T10" fmla="*/ 3 w 5"/>
              <a:gd name="T11" fmla="*/ 0 h 2"/>
              <a:gd name="T12" fmla="*/ 5 w 5"/>
              <a:gd name="T13" fmla="*/ 0 h 2"/>
              <a:gd name="T14" fmla="*/ 5 w 5"/>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5" y="0"/>
                </a:moveTo>
                <a:lnTo>
                  <a:pt x="3" y="2"/>
                </a:lnTo>
                <a:lnTo>
                  <a:pt x="3" y="2"/>
                </a:lnTo>
                <a:lnTo>
                  <a:pt x="0" y="0"/>
                </a:lnTo>
                <a:lnTo>
                  <a:pt x="0" y="0"/>
                </a:lnTo>
                <a:lnTo>
                  <a:pt x="3" y="0"/>
                </a:lnTo>
                <a:lnTo>
                  <a:pt x="5" y="0"/>
                </a:lnTo>
                <a:lnTo>
                  <a:pt x="5"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49" name="îş1iḓê">
            <a:extLst>
              <a:ext uri="{FF2B5EF4-FFF2-40B4-BE49-F238E27FC236}">
                <a16:creationId xmlns:a16="http://schemas.microsoft.com/office/drawing/2014/main" id="{D9F944A5-7613-49EC-BBF4-2C28AE772D24}"/>
              </a:ext>
            </a:extLst>
          </p:cNvPr>
          <p:cNvSpPr/>
          <p:nvPr/>
        </p:nvSpPr>
        <p:spPr bwMode="auto">
          <a:xfrm>
            <a:off x="11652125" y="5022217"/>
            <a:ext cx="22171" cy="22171"/>
          </a:xfrm>
          <a:custGeom>
            <a:avLst/>
            <a:gdLst>
              <a:gd name="T0" fmla="*/ 5 w 5"/>
              <a:gd name="T1" fmla="*/ 5 h 5"/>
              <a:gd name="T2" fmla="*/ 3 w 5"/>
              <a:gd name="T3" fmla="*/ 5 h 5"/>
              <a:gd name="T4" fmla="*/ 0 w 5"/>
              <a:gd name="T5" fmla="*/ 5 h 5"/>
              <a:gd name="T6" fmla="*/ 0 w 5"/>
              <a:gd name="T7" fmla="*/ 5 h 5"/>
              <a:gd name="T8" fmla="*/ 0 w 5"/>
              <a:gd name="T9" fmla="*/ 5 h 5"/>
              <a:gd name="T10" fmla="*/ 1 w 5"/>
              <a:gd name="T11" fmla="*/ 2 h 5"/>
              <a:gd name="T12" fmla="*/ 1 w 5"/>
              <a:gd name="T13" fmla="*/ 0 h 5"/>
              <a:gd name="T14" fmla="*/ 1 w 5"/>
              <a:gd name="T15" fmla="*/ 0 h 5"/>
              <a:gd name="T16" fmla="*/ 3 w 5"/>
              <a:gd name="T17" fmla="*/ 0 h 5"/>
              <a:gd name="T18" fmla="*/ 5 w 5"/>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5" y="5"/>
                </a:moveTo>
                <a:lnTo>
                  <a:pt x="3" y="5"/>
                </a:lnTo>
                <a:lnTo>
                  <a:pt x="0" y="5"/>
                </a:lnTo>
                <a:lnTo>
                  <a:pt x="0" y="5"/>
                </a:lnTo>
                <a:lnTo>
                  <a:pt x="0" y="5"/>
                </a:lnTo>
                <a:lnTo>
                  <a:pt x="1" y="2"/>
                </a:lnTo>
                <a:lnTo>
                  <a:pt x="1" y="0"/>
                </a:lnTo>
                <a:lnTo>
                  <a:pt x="1" y="0"/>
                </a:lnTo>
                <a:lnTo>
                  <a:pt x="3" y="0"/>
                </a:lnTo>
                <a:lnTo>
                  <a:pt x="5" y="5"/>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50" name="îṥľîḓê">
            <a:extLst>
              <a:ext uri="{FF2B5EF4-FFF2-40B4-BE49-F238E27FC236}">
                <a16:creationId xmlns:a16="http://schemas.microsoft.com/office/drawing/2014/main" id="{4822DBA4-E604-4A7D-831A-B1D79BCD2AB0}"/>
              </a:ext>
            </a:extLst>
          </p:cNvPr>
          <p:cNvSpPr/>
          <p:nvPr/>
        </p:nvSpPr>
        <p:spPr bwMode="auto">
          <a:xfrm>
            <a:off x="11652125" y="4942399"/>
            <a:ext cx="22171" cy="22171"/>
          </a:xfrm>
          <a:custGeom>
            <a:avLst/>
            <a:gdLst>
              <a:gd name="T0" fmla="*/ 0 w 5"/>
              <a:gd name="T1" fmla="*/ 5 h 5"/>
              <a:gd name="T2" fmla="*/ 1 w 5"/>
              <a:gd name="T3" fmla="*/ 2 h 5"/>
              <a:gd name="T4" fmla="*/ 1 w 5"/>
              <a:gd name="T5" fmla="*/ 2 h 5"/>
              <a:gd name="T6" fmla="*/ 1 w 5"/>
              <a:gd name="T7" fmla="*/ 0 h 5"/>
              <a:gd name="T8" fmla="*/ 3 w 5"/>
              <a:gd name="T9" fmla="*/ 2 h 5"/>
              <a:gd name="T10" fmla="*/ 5 w 5"/>
              <a:gd name="T11" fmla="*/ 5 h 5"/>
              <a:gd name="T12" fmla="*/ 3 w 5"/>
              <a:gd name="T13" fmla="*/ 5 h 5"/>
              <a:gd name="T14" fmla="*/ 0 w 5"/>
              <a:gd name="T15" fmla="*/ 5 h 5"/>
              <a:gd name="T16" fmla="*/ 0 w 5"/>
              <a:gd name="T17" fmla="*/ 5 h 5"/>
              <a:gd name="T18" fmla="*/ 0 w 5"/>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0" y="5"/>
                </a:moveTo>
                <a:lnTo>
                  <a:pt x="1" y="2"/>
                </a:lnTo>
                <a:lnTo>
                  <a:pt x="1" y="2"/>
                </a:lnTo>
                <a:lnTo>
                  <a:pt x="1" y="0"/>
                </a:lnTo>
                <a:lnTo>
                  <a:pt x="3" y="2"/>
                </a:lnTo>
                <a:lnTo>
                  <a:pt x="5" y="5"/>
                </a:lnTo>
                <a:lnTo>
                  <a:pt x="3" y="5"/>
                </a:lnTo>
                <a:lnTo>
                  <a:pt x="0" y="5"/>
                </a:lnTo>
                <a:lnTo>
                  <a:pt x="0" y="5"/>
                </a:lnTo>
                <a:lnTo>
                  <a:pt x="0" y="5"/>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51" name="iS1ïḑe">
            <a:extLst>
              <a:ext uri="{FF2B5EF4-FFF2-40B4-BE49-F238E27FC236}">
                <a16:creationId xmlns:a16="http://schemas.microsoft.com/office/drawing/2014/main" id="{1FFC4BE9-2DBA-46BC-BBBF-AFD7E6F12B5E}"/>
              </a:ext>
            </a:extLst>
          </p:cNvPr>
          <p:cNvSpPr/>
          <p:nvPr/>
        </p:nvSpPr>
        <p:spPr bwMode="auto">
          <a:xfrm>
            <a:off x="11643257" y="4920228"/>
            <a:ext cx="8868" cy="22171"/>
          </a:xfrm>
          <a:custGeom>
            <a:avLst/>
            <a:gdLst>
              <a:gd name="T0" fmla="*/ 0 w 2"/>
              <a:gd name="T1" fmla="*/ 3 h 5"/>
              <a:gd name="T2" fmla="*/ 0 w 2"/>
              <a:gd name="T3" fmla="*/ 2 h 5"/>
              <a:gd name="T4" fmla="*/ 0 w 2"/>
              <a:gd name="T5" fmla="*/ 0 h 5"/>
              <a:gd name="T6" fmla="*/ 2 w 2"/>
              <a:gd name="T7" fmla="*/ 2 h 5"/>
              <a:gd name="T8" fmla="*/ 2 w 2"/>
              <a:gd name="T9" fmla="*/ 2 h 5"/>
              <a:gd name="T10" fmla="*/ 2 w 2"/>
              <a:gd name="T11" fmla="*/ 3 h 5"/>
              <a:gd name="T12" fmla="*/ 0 w 2"/>
              <a:gd name="T13" fmla="*/ 5 h 5"/>
              <a:gd name="T14" fmla="*/ 0 w 2"/>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5">
                <a:moveTo>
                  <a:pt x="0" y="3"/>
                </a:moveTo>
                <a:lnTo>
                  <a:pt x="0" y="2"/>
                </a:lnTo>
                <a:lnTo>
                  <a:pt x="0" y="0"/>
                </a:lnTo>
                <a:lnTo>
                  <a:pt x="2" y="2"/>
                </a:lnTo>
                <a:lnTo>
                  <a:pt x="2" y="2"/>
                </a:lnTo>
                <a:lnTo>
                  <a:pt x="2" y="3"/>
                </a:lnTo>
                <a:lnTo>
                  <a:pt x="0" y="5"/>
                </a:lnTo>
                <a:lnTo>
                  <a:pt x="0" y="3"/>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52" name="î$ḷïdé">
            <a:extLst>
              <a:ext uri="{FF2B5EF4-FFF2-40B4-BE49-F238E27FC236}">
                <a16:creationId xmlns:a16="http://schemas.microsoft.com/office/drawing/2014/main" id="{E59E04D7-276E-4E32-ACF6-FCB04D167C76}"/>
              </a:ext>
            </a:extLst>
          </p:cNvPr>
          <p:cNvSpPr/>
          <p:nvPr/>
        </p:nvSpPr>
        <p:spPr bwMode="auto">
          <a:xfrm>
            <a:off x="11665428" y="4920228"/>
            <a:ext cx="8868" cy="22171"/>
          </a:xfrm>
          <a:custGeom>
            <a:avLst/>
            <a:gdLst>
              <a:gd name="T0" fmla="*/ 2 w 2"/>
              <a:gd name="T1" fmla="*/ 0 h 5"/>
              <a:gd name="T2" fmla="*/ 2 w 2"/>
              <a:gd name="T3" fmla="*/ 2 h 5"/>
              <a:gd name="T4" fmla="*/ 2 w 2"/>
              <a:gd name="T5" fmla="*/ 5 h 5"/>
              <a:gd name="T6" fmla="*/ 0 w 2"/>
              <a:gd name="T7" fmla="*/ 2 h 5"/>
              <a:gd name="T8" fmla="*/ 2 w 2"/>
              <a:gd name="T9" fmla="*/ 2 h 5"/>
              <a:gd name="T10" fmla="*/ 2 w 2"/>
              <a:gd name="T11" fmla="*/ 0 h 5"/>
            </a:gdLst>
            <a:ahLst/>
            <a:cxnLst>
              <a:cxn ang="0">
                <a:pos x="T0" y="T1"/>
              </a:cxn>
              <a:cxn ang="0">
                <a:pos x="T2" y="T3"/>
              </a:cxn>
              <a:cxn ang="0">
                <a:pos x="T4" y="T5"/>
              </a:cxn>
              <a:cxn ang="0">
                <a:pos x="T6" y="T7"/>
              </a:cxn>
              <a:cxn ang="0">
                <a:pos x="T8" y="T9"/>
              </a:cxn>
              <a:cxn ang="0">
                <a:pos x="T10" y="T11"/>
              </a:cxn>
            </a:cxnLst>
            <a:rect l="0" t="0" r="r" b="b"/>
            <a:pathLst>
              <a:path w="2" h="5">
                <a:moveTo>
                  <a:pt x="2" y="0"/>
                </a:moveTo>
                <a:lnTo>
                  <a:pt x="2" y="2"/>
                </a:lnTo>
                <a:lnTo>
                  <a:pt x="2" y="5"/>
                </a:lnTo>
                <a:lnTo>
                  <a:pt x="0" y="2"/>
                </a:lnTo>
                <a:lnTo>
                  <a:pt x="2" y="2"/>
                </a:lnTo>
                <a:lnTo>
                  <a:pt x="2"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53" name="ïŝľïďê">
            <a:extLst>
              <a:ext uri="{FF2B5EF4-FFF2-40B4-BE49-F238E27FC236}">
                <a16:creationId xmlns:a16="http://schemas.microsoft.com/office/drawing/2014/main" id="{8A99F892-EB3B-40C9-BA96-1BDC6916E05D}"/>
              </a:ext>
            </a:extLst>
          </p:cNvPr>
          <p:cNvSpPr/>
          <p:nvPr/>
        </p:nvSpPr>
        <p:spPr bwMode="auto">
          <a:xfrm>
            <a:off x="11692033" y="4977873"/>
            <a:ext cx="31040" cy="13303"/>
          </a:xfrm>
          <a:custGeom>
            <a:avLst/>
            <a:gdLst>
              <a:gd name="T0" fmla="*/ 5 w 7"/>
              <a:gd name="T1" fmla="*/ 3 h 3"/>
              <a:gd name="T2" fmla="*/ 4 w 7"/>
              <a:gd name="T3" fmla="*/ 3 h 3"/>
              <a:gd name="T4" fmla="*/ 4 w 7"/>
              <a:gd name="T5" fmla="*/ 3 h 3"/>
              <a:gd name="T6" fmla="*/ 4 w 7"/>
              <a:gd name="T7" fmla="*/ 3 h 3"/>
              <a:gd name="T8" fmla="*/ 0 w 7"/>
              <a:gd name="T9" fmla="*/ 0 h 3"/>
              <a:gd name="T10" fmla="*/ 2 w 7"/>
              <a:gd name="T11" fmla="*/ 0 h 3"/>
              <a:gd name="T12" fmla="*/ 7 w 7"/>
              <a:gd name="T13" fmla="*/ 0 h 3"/>
              <a:gd name="T14" fmla="*/ 7 w 7"/>
              <a:gd name="T15" fmla="*/ 0 h 3"/>
              <a:gd name="T16" fmla="*/ 7 w 7"/>
              <a:gd name="T17" fmla="*/ 0 h 3"/>
              <a:gd name="T18" fmla="*/ 5 w 7"/>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3">
                <a:moveTo>
                  <a:pt x="5" y="3"/>
                </a:moveTo>
                <a:lnTo>
                  <a:pt x="4" y="3"/>
                </a:lnTo>
                <a:lnTo>
                  <a:pt x="4" y="3"/>
                </a:lnTo>
                <a:lnTo>
                  <a:pt x="4" y="3"/>
                </a:lnTo>
                <a:lnTo>
                  <a:pt x="0" y="0"/>
                </a:lnTo>
                <a:lnTo>
                  <a:pt x="2" y="0"/>
                </a:lnTo>
                <a:lnTo>
                  <a:pt x="7" y="0"/>
                </a:lnTo>
                <a:lnTo>
                  <a:pt x="7" y="0"/>
                </a:lnTo>
                <a:lnTo>
                  <a:pt x="7" y="0"/>
                </a:lnTo>
                <a:lnTo>
                  <a:pt x="5" y="3"/>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54" name="íśļíďè">
            <a:extLst>
              <a:ext uri="{FF2B5EF4-FFF2-40B4-BE49-F238E27FC236}">
                <a16:creationId xmlns:a16="http://schemas.microsoft.com/office/drawing/2014/main" id="{49A8240F-D2C6-4DD0-BF48-1364256239C3}"/>
              </a:ext>
            </a:extLst>
          </p:cNvPr>
          <p:cNvSpPr/>
          <p:nvPr/>
        </p:nvSpPr>
        <p:spPr bwMode="auto">
          <a:xfrm>
            <a:off x="11687599" y="4911360"/>
            <a:ext cx="13303" cy="39908"/>
          </a:xfrm>
          <a:custGeom>
            <a:avLst/>
            <a:gdLst>
              <a:gd name="T0" fmla="*/ 3 w 3"/>
              <a:gd name="T1" fmla="*/ 4 h 9"/>
              <a:gd name="T2" fmla="*/ 1 w 3"/>
              <a:gd name="T3" fmla="*/ 5 h 9"/>
              <a:gd name="T4" fmla="*/ 0 w 3"/>
              <a:gd name="T5" fmla="*/ 7 h 9"/>
              <a:gd name="T6" fmla="*/ 0 w 3"/>
              <a:gd name="T7" fmla="*/ 9 h 9"/>
              <a:gd name="T8" fmla="*/ 0 w 3"/>
              <a:gd name="T9" fmla="*/ 7 h 9"/>
              <a:gd name="T10" fmla="*/ 0 w 3"/>
              <a:gd name="T11" fmla="*/ 4 h 9"/>
              <a:gd name="T12" fmla="*/ 0 w 3"/>
              <a:gd name="T13" fmla="*/ 2 h 9"/>
              <a:gd name="T14" fmla="*/ 0 w 3"/>
              <a:gd name="T15" fmla="*/ 0 h 9"/>
              <a:gd name="T16" fmla="*/ 3 w 3"/>
              <a:gd name="T17" fmla="*/ 4 h 9"/>
              <a:gd name="T18" fmla="*/ 3 w 3"/>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9">
                <a:moveTo>
                  <a:pt x="3" y="4"/>
                </a:moveTo>
                <a:lnTo>
                  <a:pt x="1" y="5"/>
                </a:lnTo>
                <a:lnTo>
                  <a:pt x="0" y="7"/>
                </a:lnTo>
                <a:lnTo>
                  <a:pt x="0" y="9"/>
                </a:lnTo>
                <a:lnTo>
                  <a:pt x="0" y="7"/>
                </a:lnTo>
                <a:lnTo>
                  <a:pt x="0" y="4"/>
                </a:lnTo>
                <a:lnTo>
                  <a:pt x="0" y="2"/>
                </a:lnTo>
                <a:lnTo>
                  <a:pt x="0" y="0"/>
                </a:lnTo>
                <a:lnTo>
                  <a:pt x="3" y="4"/>
                </a:lnTo>
                <a:lnTo>
                  <a:pt x="3" y="4"/>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55" name="isḻîḓê">
            <a:extLst>
              <a:ext uri="{FF2B5EF4-FFF2-40B4-BE49-F238E27FC236}">
                <a16:creationId xmlns:a16="http://schemas.microsoft.com/office/drawing/2014/main" id="{2C0EE544-3304-4562-9338-ECB047FF284F}"/>
              </a:ext>
            </a:extLst>
          </p:cNvPr>
          <p:cNvSpPr/>
          <p:nvPr/>
        </p:nvSpPr>
        <p:spPr bwMode="auto">
          <a:xfrm>
            <a:off x="11652125" y="4871452"/>
            <a:ext cx="13303" cy="13303"/>
          </a:xfrm>
          <a:custGeom>
            <a:avLst/>
            <a:gdLst>
              <a:gd name="T0" fmla="*/ 0 w 3"/>
              <a:gd name="T1" fmla="*/ 3 h 3"/>
              <a:gd name="T2" fmla="*/ 0 w 3"/>
              <a:gd name="T3" fmla="*/ 3 h 3"/>
              <a:gd name="T4" fmla="*/ 0 w 3"/>
              <a:gd name="T5" fmla="*/ 3 h 3"/>
              <a:gd name="T6" fmla="*/ 1 w 3"/>
              <a:gd name="T7" fmla="*/ 1 h 3"/>
              <a:gd name="T8" fmla="*/ 1 w 3"/>
              <a:gd name="T9" fmla="*/ 0 h 3"/>
              <a:gd name="T10" fmla="*/ 1 w 3"/>
              <a:gd name="T11" fmla="*/ 0 h 3"/>
              <a:gd name="T12" fmla="*/ 1 w 3"/>
              <a:gd name="T13" fmla="*/ 1 h 3"/>
              <a:gd name="T14" fmla="*/ 3 w 3"/>
              <a:gd name="T15" fmla="*/ 3 h 3"/>
              <a:gd name="T16" fmla="*/ 3 w 3"/>
              <a:gd name="T17" fmla="*/ 3 h 3"/>
              <a:gd name="T18" fmla="*/ 0 w 3"/>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3"/>
                </a:moveTo>
                <a:lnTo>
                  <a:pt x="0" y="3"/>
                </a:lnTo>
                <a:lnTo>
                  <a:pt x="0" y="3"/>
                </a:lnTo>
                <a:lnTo>
                  <a:pt x="1" y="1"/>
                </a:lnTo>
                <a:lnTo>
                  <a:pt x="1" y="0"/>
                </a:lnTo>
                <a:lnTo>
                  <a:pt x="1" y="0"/>
                </a:lnTo>
                <a:lnTo>
                  <a:pt x="1" y="1"/>
                </a:lnTo>
                <a:lnTo>
                  <a:pt x="3" y="3"/>
                </a:lnTo>
                <a:lnTo>
                  <a:pt x="3" y="3"/>
                </a:lnTo>
                <a:lnTo>
                  <a:pt x="0" y="3"/>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56" name="iślíde">
            <a:extLst>
              <a:ext uri="{FF2B5EF4-FFF2-40B4-BE49-F238E27FC236}">
                <a16:creationId xmlns:a16="http://schemas.microsoft.com/office/drawing/2014/main" id="{25834DC1-63B6-4CFF-BA65-0D4784F97B9B}"/>
              </a:ext>
            </a:extLst>
          </p:cNvPr>
          <p:cNvSpPr/>
          <p:nvPr/>
        </p:nvSpPr>
        <p:spPr bwMode="auto">
          <a:xfrm>
            <a:off x="11643257" y="4849281"/>
            <a:ext cx="8868" cy="13303"/>
          </a:xfrm>
          <a:custGeom>
            <a:avLst/>
            <a:gdLst>
              <a:gd name="T0" fmla="*/ 0 w 2"/>
              <a:gd name="T1" fmla="*/ 1 h 3"/>
              <a:gd name="T2" fmla="*/ 0 w 2"/>
              <a:gd name="T3" fmla="*/ 0 h 3"/>
              <a:gd name="T4" fmla="*/ 2 w 2"/>
              <a:gd name="T5" fmla="*/ 1 h 3"/>
              <a:gd name="T6" fmla="*/ 2 w 2"/>
              <a:gd name="T7" fmla="*/ 1 h 3"/>
              <a:gd name="T8" fmla="*/ 2 w 2"/>
              <a:gd name="T9" fmla="*/ 3 h 3"/>
              <a:gd name="T10" fmla="*/ 0 w 2"/>
              <a:gd name="T11" fmla="*/ 3 h 3"/>
              <a:gd name="T12" fmla="*/ 0 w 2"/>
              <a:gd name="T13" fmla="*/ 3 h 3"/>
              <a:gd name="T14" fmla="*/ 0 w 2"/>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1"/>
                </a:moveTo>
                <a:lnTo>
                  <a:pt x="0" y="0"/>
                </a:lnTo>
                <a:lnTo>
                  <a:pt x="2" y="1"/>
                </a:lnTo>
                <a:lnTo>
                  <a:pt x="2" y="1"/>
                </a:lnTo>
                <a:lnTo>
                  <a:pt x="2" y="3"/>
                </a:lnTo>
                <a:lnTo>
                  <a:pt x="0" y="3"/>
                </a:lnTo>
                <a:lnTo>
                  <a:pt x="0" y="3"/>
                </a:lnTo>
                <a:lnTo>
                  <a:pt x="0" y="1"/>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57" name="íŝľîḋê">
            <a:extLst>
              <a:ext uri="{FF2B5EF4-FFF2-40B4-BE49-F238E27FC236}">
                <a16:creationId xmlns:a16="http://schemas.microsoft.com/office/drawing/2014/main" id="{E792C7DC-FB20-4D52-A98D-D25BA078C02C}"/>
              </a:ext>
            </a:extLst>
          </p:cNvPr>
          <p:cNvSpPr/>
          <p:nvPr/>
        </p:nvSpPr>
        <p:spPr bwMode="auto">
          <a:xfrm>
            <a:off x="11665428" y="4849281"/>
            <a:ext cx="8868" cy="13303"/>
          </a:xfrm>
          <a:custGeom>
            <a:avLst/>
            <a:gdLst>
              <a:gd name="T0" fmla="*/ 2 w 2"/>
              <a:gd name="T1" fmla="*/ 0 h 3"/>
              <a:gd name="T2" fmla="*/ 2 w 2"/>
              <a:gd name="T3" fmla="*/ 1 h 3"/>
              <a:gd name="T4" fmla="*/ 2 w 2"/>
              <a:gd name="T5" fmla="*/ 3 h 3"/>
              <a:gd name="T6" fmla="*/ 0 w 2"/>
              <a:gd name="T7" fmla="*/ 1 h 3"/>
              <a:gd name="T8" fmla="*/ 0 w 2"/>
              <a:gd name="T9" fmla="*/ 1 h 3"/>
              <a:gd name="T10" fmla="*/ 2 w 2"/>
              <a:gd name="T11" fmla="*/ 0 h 3"/>
            </a:gdLst>
            <a:ahLst/>
            <a:cxnLst>
              <a:cxn ang="0">
                <a:pos x="T0" y="T1"/>
              </a:cxn>
              <a:cxn ang="0">
                <a:pos x="T2" y="T3"/>
              </a:cxn>
              <a:cxn ang="0">
                <a:pos x="T4" y="T5"/>
              </a:cxn>
              <a:cxn ang="0">
                <a:pos x="T6" y="T7"/>
              </a:cxn>
              <a:cxn ang="0">
                <a:pos x="T8" y="T9"/>
              </a:cxn>
              <a:cxn ang="0">
                <a:pos x="T10" y="T11"/>
              </a:cxn>
            </a:cxnLst>
            <a:rect l="0" t="0" r="r" b="b"/>
            <a:pathLst>
              <a:path w="2" h="3">
                <a:moveTo>
                  <a:pt x="2" y="0"/>
                </a:moveTo>
                <a:lnTo>
                  <a:pt x="2" y="1"/>
                </a:lnTo>
                <a:lnTo>
                  <a:pt x="2" y="3"/>
                </a:lnTo>
                <a:lnTo>
                  <a:pt x="0" y="1"/>
                </a:lnTo>
                <a:lnTo>
                  <a:pt x="0" y="1"/>
                </a:lnTo>
                <a:lnTo>
                  <a:pt x="2"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58" name="ïṧḷíḋê">
            <a:extLst>
              <a:ext uri="{FF2B5EF4-FFF2-40B4-BE49-F238E27FC236}">
                <a16:creationId xmlns:a16="http://schemas.microsoft.com/office/drawing/2014/main" id="{C39B7FE5-D88A-4C37-B340-F80B11369FF6}"/>
              </a:ext>
            </a:extLst>
          </p:cNvPr>
          <p:cNvSpPr/>
          <p:nvPr/>
        </p:nvSpPr>
        <p:spPr bwMode="auto">
          <a:xfrm>
            <a:off x="11692033" y="4898057"/>
            <a:ext cx="22171" cy="22171"/>
          </a:xfrm>
          <a:custGeom>
            <a:avLst/>
            <a:gdLst>
              <a:gd name="T0" fmla="*/ 4 w 5"/>
              <a:gd name="T1" fmla="*/ 3 h 5"/>
              <a:gd name="T2" fmla="*/ 4 w 5"/>
              <a:gd name="T3" fmla="*/ 5 h 5"/>
              <a:gd name="T4" fmla="*/ 4 w 5"/>
              <a:gd name="T5" fmla="*/ 5 h 5"/>
              <a:gd name="T6" fmla="*/ 4 w 5"/>
              <a:gd name="T7" fmla="*/ 3 h 5"/>
              <a:gd name="T8" fmla="*/ 0 w 5"/>
              <a:gd name="T9" fmla="*/ 0 h 5"/>
              <a:gd name="T10" fmla="*/ 0 w 5"/>
              <a:gd name="T11" fmla="*/ 0 h 5"/>
              <a:gd name="T12" fmla="*/ 5 w 5"/>
              <a:gd name="T13" fmla="*/ 0 h 5"/>
              <a:gd name="T14" fmla="*/ 5 w 5"/>
              <a:gd name="T15" fmla="*/ 0 h 5"/>
              <a:gd name="T16" fmla="*/ 5 w 5"/>
              <a:gd name="T17" fmla="*/ 0 h 5"/>
              <a:gd name="T18" fmla="*/ 4 w 5"/>
              <a:gd name="T1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4" y="3"/>
                </a:moveTo>
                <a:lnTo>
                  <a:pt x="4" y="5"/>
                </a:lnTo>
                <a:lnTo>
                  <a:pt x="4" y="5"/>
                </a:lnTo>
                <a:lnTo>
                  <a:pt x="4" y="3"/>
                </a:lnTo>
                <a:lnTo>
                  <a:pt x="0" y="0"/>
                </a:lnTo>
                <a:lnTo>
                  <a:pt x="0" y="0"/>
                </a:lnTo>
                <a:lnTo>
                  <a:pt x="5" y="0"/>
                </a:lnTo>
                <a:lnTo>
                  <a:pt x="5" y="0"/>
                </a:lnTo>
                <a:lnTo>
                  <a:pt x="5" y="0"/>
                </a:lnTo>
                <a:lnTo>
                  <a:pt x="4" y="3"/>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59" name="îŝļíḋè">
            <a:extLst>
              <a:ext uri="{FF2B5EF4-FFF2-40B4-BE49-F238E27FC236}">
                <a16:creationId xmlns:a16="http://schemas.microsoft.com/office/drawing/2014/main" id="{00C24E60-AA4C-44AB-977D-B790BD6F0D0E}"/>
              </a:ext>
            </a:extLst>
          </p:cNvPr>
          <p:cNvSpPr/>
          <p:nvPr/>
        </p:nvSpPr>
        <p:spPr bwMode="auto">
          <a:xfrm>
            <a:off x="11687599" y="4840412"/>
            <a:ext cx="4434" cy="31040"/>
          </a:xfrm>
          <a:custGeom>
            <a:avLst/>
            <a:gdLst>
              <a:gd name="T0" fmla="*/ 1 w 1"/>
              <a:gd name="T1" fmla="*/ 5 h 7"/>
              <a:gd name="T2" fmla="*/ 0 w 1"/>
              <a:gd name="T3" fmla="*/ 7 h 7"/>
              <a:gd name="T4" fmla="*/ 0 w 1"/>
              <a:gd name="T5" fmla="*/ 7 h 7"/>
              <a:gd name="T6" fmla="*/ 0 w 1"/>
              <a:gd name="T7" fmla="*/ 7 h 7"/>
              <a:gd name="T8" fmla="*/ 0 w 1"/>
              <a:gd name="T9" fmla="*/ 3 h 7"/>
              <a:gd name="T10" fmla="*/ 0 w 1"/>
              <a:gd name="T11" fmla="*/ 2 h 7"/>
              <a:gd name="T12" fmla="*/ 0 w 1"/>
              <a:gd name="T13" fmla="*/ 0 h 7"/>
              <a:gd name="T14" fmla="*/ 1 w 1"/>
              <a:gd name="T15" fmla="*/ 3 h 7"/>
              <a:gd name="T16" fmla="*/ 1 w 1"/>
              <a:gd name="T17" fmla="*/ 3 h 7"/>
              <a:gd name="T18" fmla="*/ 1 w 1"/>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7">
                <a:moveTo>
                  <a:pt x="1" y="5"/>
                </a:moveTo>
                <a:lnTo>
                  <a:pt x="0" y="7"/>
                </a:lnTo>
                <a:lnTo>
                  <a:pt x="0" y="7"/>
                </a:lnTo>
                <a:lnTo>
                  <a:pt x="0" y="7"/>
                </a:lnTo>
                <a:lnTo>
                  <a:pt x="0" y="3"/>
                </a:lnTo>
                <a:lnTo>
                  <a:pt x="0" y="2"/>
                </a:lnTo>
                <a:lnTo>
                  <a:pt x="0" y="0"/>
                </a:lnTo>
                <a:lnTo>
                  <a:pt x="1" y="3"/>
                </a:lnTo>
                <a:lnTo>
                  <a:pt x="1" y="3"/>
                </a:lnTo>
                <a:lnTo>
                  <a:pt x="1" y="5"/>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60" name="íṣlîḑè">
            <a:extLst>
              <a:ext uri="{FF2B5EF4-FFF2-40B4-BE49-F238E27FC236}">
                <a16:creationId xmlns:a16="http://schemas.microsoft.com/office/drawing/2014/main" id="{0D0A1368-4BBB-49E3-ABD0-4A8EFF861167}"/>
              </a:ext>
            </a:extLst>
          </p:cNvPr>
          <p:cNvSpPr/>
          <p:nvPr/>
        </p:nvSpPr>
        <p:spPr bwMode="auto">
          <a:xfrm>
            <a:off x="11652125" y="4804937"/>
            <a:ext cx="13303" cy="13303"/>
          </a:xfrm>
          <a:custGeom>
            <a:avLst/>
            <a:gdLst>
              <a:gd name="T0" fmla="*/ 0 w 3"/>
              <a:gd name="T1" fmla="*/ 3 h 3"/>
              <a:gd name="T2" fmla="*/ 0 w 3"/>
              <a:gd name="T3" fmla="*/ 3 h 3"/>
              <a:gd name="T4" fmla="*/ 0 w 3"/>
              <a:gd name="T5" fmla="*/ 3 h 3"/>
              <a:gd name="T6" fmla="*/ 1 w 3"/>
              <a:gd name="T7" fmla="*/ 0 h 3"/>
              <a:gd name="T8" fmla="*/ 1 w 3"/>
              <a:gd name="T9" fmla="*/ 0 h 3"/>
              <a:gd name="T10" fmla="*/ 1 w 3"/>
              <a:gd name="T11" fmla="*/ 0 h 3"/>
              <a:gd name="T12" fmla="*/ 1 w 3"/>
              <a:gd name="T13" fmla="*/ 0 h 3"/>
              <a:gd name="T14" fmla="*/ 3 w 3"/>
              <a:gd name="T15" fmla="*/ 3 h 3"/>
              <a:gd name="T16" fmla="*/ 3 w 3"/>
              <a:gd name="T17" fmla="*/ 3 h 3"/>
              <a:gd name="T18" fmla="*/ 0 w 3"/>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3"/>
                </a:moveTo>
                <a:lnTo>
                  <a:pt x="0" y="3"/>
                </a:lnTo>
                <a:lnTo>
                  <a:pt x="0" y="3"/>
                </a:lnTo>
                <a:lnTo>
                  <a:pt x="1" y="0"/>
                </a:lnTo>
                <a:lnTo>
                  <a:pt x="1" y="0"/>
                </a:lnTo>
                <a:lnTo>
                  <a:pt x="1" y="0"/>
                </a:lnTo>
                <a:lnTo>
                  <a:pt x="1" y="0"/>
                </a:lnTo>
                <a:lnTo>
                  <a:pt x="3" y="3"/>
                </a:lnTo>
                <a:lnTo>
                  <a:pt x="3" y="3"/>
                </a:lnTo>
                <a:lnTo>
                  <a:pt x="0" y="3"/>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61" name="íşļîḓê">
            <a:extLst>
              <a:ext uri="{FF2B5EF4-FFF2-40B4-BE49-F238E27FC236}">
                <a16:creationId xmlns:a16="http://schemas.microsoft.com/office/drawing/2014/main" id="{3B285CC6-7C96-49E5-AA83-43B0D6479005}"/>
              </a:ext>
            </a:extLst>
          </p:cNvPr>
          <p:cNvSpPr/>
          <p:nvPr/>
        </p:nvSpPr>
        <p:spPr bwMode="auto">
          <a:xfrm>
            <a:off x="11643257" y="4782766"/>
            <a:ext cx="8868" cy="13303"/>
          </a:xfrm>
          <a:custGeom>
            <a:avLst/>
            <a:gdLst>
              <a:gd name="T0" fmla="*/ 0 w 2"/>
              <a:gd name="T1" fmla="*/ 2 h 3"/>
              <a:gd name="T2" fmla="*/ 0 w 2"/>
              <a:gd name="T3" fmla="*/ 0 h 3"/>
              <a:gd name="T4" fmla="*/ 0 w 2"/>
              <a:gd name="T5" fmla="*/ 0 h 3"/>
              <a:gd name="T6" fmla="*/ 0 w 2"/>
              <a:gd name="T7" fmla="*/ 0 h 3"/>
              <a:gd name="T8" fmla="*/ 2 w 2"/>
              <a:gd name="T9" fmla="*/ 0 h 3"/>
              <a:gd name="T10" fmla="*/ 2 w 2"/>
              <a:gd name="T11" fmla="*/ 2 h 3"/>
              <a:gd name="T12" fmla="*/ 2 w 2"/>
              <a:gd name="T13" fmla="*/ 2 h 3"/>
              <a:gd name="T14" fmla="*/ 2 w 2"/>
              <a:gd name="T15" fmla="*/ 2 h 3"/>
              <a:gd name="T16" fmla="*/ 0 w 2"/>
              <a:gd name="T17" fmla="*/ 3 h 3"/>
              <a:gd name="T18" fmla="*/ 0 w 2"/>
              <a:gd name="T19"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3">
                <a:moveTo>
                  <a:pt x="0" y="2"/>
                </a:moveTo>
                <a:lnTo>
                  <a:pt x="0" y="0"/>
                </a:lnTo>
                <a:lnTo>
                  <a:pt x="0" y="0"/>
                </a:lnTo>
                <a:lnTo>
                  <a:pt x="0" y="0"/>
                </a:lnTo>
                <a:lnTo>
                  <a:pt x="2" y="0"/>
                </a:lnTo>
                <a:lnTo>
                  <a:pt x="2" y="2"/>
                </a:lnTo>
                <a:lnTo>
                  <a:pt x="2" y="2"/>
                </a:lnTo>
                <a:lnTo>
                  <a:pt x="2" y="2"/>
                </a:lnTo>
                <a:lnTo>
                  <a:pt x="0" y="3"/>
                </a:lnTo>
                <a:lnTo>
                  <a:pt x="0" y="2"/>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62" name="îṥļiḍe">
            <a:extLst>
              <a:ext uri="{FF2B5EF4-FFF2-40B4-BE49-F238E27FC236}">
                <a16:creationId xmlns:a16="http://schemas.microsoft.com/office/drawing/2014/main" id="{14D939A6-81F1-485F-A013-146D37621B2D}"/>
              </a:ext>
            </a:extLst>
          </p:cNvPr>
          <p:cNvSpPr/>
          <p:nvPr/>
        </p:nvSpPr>
        <p:spPr bwMode="auto">
          <a:xfrm>
            <a:off x="11665428" y="4782766"/>
            <a:ext cx="8868" cy="13303"/>
          </a:xfrm>
          <a:custGeom>
            <a:avLst/>
            <a:gdLst>
              <a:gd name="T0" fmla="*/ 0 w 2"/>
              <a:gd name="T1" fmla="*/ 2 h 3"/>
              <a:gd name="T2" fmla="*/ 0 w 2"/>
              <a:gd name="T3" fmla="*/ 0 h 3"/>
              <a:gd name="T4" fmla="*/ 2 w 2"/>
              <a:gd name="T5" fmla="*/ 0 h 3"/>
              <a:gd name="T6" fmla="*/ 2 w 2"/>
              <a:gd name="T7" fmla="*/ 2 h 3"/>
              <a:gd name="T8" fmla="*/ 2 w 2"/>
              <a:gd name="T9" fmla="*/ 2 h 3"/>
              <a:gd name="T10" fmla="*/ 2 w 2"/>
              <a:gd name="T11" fmla="*/ 3 h 3"/>
              <a:gd name="T12" fmla="*/ 0 w 2"/>
              <a:gd name="T13" fmla="*/ 2 h 3"/>
              <a:gd name="T14" fmla="*/ 0 w 2"/>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2"/>
                </a:moveTo>
                <a:lnTo>
                  <a:pt x="0" y="0"/>
                </a:lnTo>
                <a:lnTo>
                  <a:pt x="2" y="0"/>
                </a:lnTo>
                <a:lnTo>
                  <a:pt x="2" y="2"/>
                </a:lnTo>
                <a:lnTo>
                  <a:pt x="2" y="2"/>
                </a:lnTo>
                <a:lnTo>
                  <a:pt x="2" y="3"/>
                </a:lnTo>
                <a:lnTo>
                  <a:pt x="0" y="2"/>
                </a:lnTo>
                <a:lnTo>
                  <a:pt x="0" y="2"/>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63" name="íṣ1ïḍe">
            <a:extLst>
              <a:ext uri="{FF2B5EF4-FFF2-40B4-BE49-F238E27FC236}">
                <a16:creationId xmlns:a16="http://schemas.microsoft.com/office/drawing/2014/main" id="{781FF386-5129-40BF-AD81-D054B13AEE7C}"/>
              </a:ext>
            </a:extLst>
          </p:cNvPr>
          <p:cNvSpPr/>
          <p:nvPr/>
        </p:nvSpPr>
        <p:spPr bwMode="auto">
          <a:xfrm>
            <a:off x="11643257" y="4711818"/>
            <a:ext cx="8868" cy="13303"/>
          </a:xfrm>
          <a:custGeom>
            <a:avLst/>
            <a:gdLst>
              <a:gd name="T0" fmla="*/ 0 w 2"/>
              <a:gd name="T1" fmla="*/ 1 h 3"/>
              <a:gd name="T2" fmla="*/ 0 w 2"/>
              <a:gd name="T3" fmla="*/ 0 h 3"/>
              <a:gd name="T4" fmla="*/ 2 w 2"/>
              <a:gd name="T5" fmla="*/ 1 h 3"/>
              <a:gd name="T6" fmla="*/ 0 w 2"/>
              <a:gd name="T7" fmla="*/ 1 h 3"/>
              <a:gd name="T8" fmla="*/ 0 w 2"/>
              <a:gd name="T9" fmla="*/ 3 h 3"/>
              <a:gd name="T10" fmla="*/ 0 w 2"/>
              <a:gd name="T11" fmla="*/ 1 h 3"/>
            </a:gdLst>
            <a:ahLst/>
            <a:cxnLst>
              <a:cxn ang="0">
                <a:pos x="T0" y="T1"/>
              </a:cxn>
              <a:cxn ang="0">
                <a:pos x="T2" y="T3"/>
              </a:cxn>
              <a:cxn ang="0">
                <a:pos x="T4" y="T5"/>
              </a:cxn>
              <a:cxn ang="0">
                <a:pos x="T6" y="T7"/>
              </a:cxn>
              <a:cxn ang="0">
                <a:pos x="T8" y="T9"/>
              </a:cxn>
              <a:cxn ang="0">
                <a:pos x="T10" y="T11"/>
              </a:cxn>
            </a:cxnLst>
            <a:rect l="0" t="0" r="r" b="b"/>
            <a:pathLst>
              <a:path w="2" h="3">
                <a:moveTo>
                  <a:pt x="0" y="1"/>
                </a:moveTo>
                <a:lnTo>
                  <a:pt x="0" y="0"/>
                </a:lnTo>
                <a:lnTo>
                  <a:pt x="2" y="1"/>
                </a:lnTo>
                <a:lnTo>
                  <a:pt x="0" y="1"/>
                </a:lnTo>
                <a:lnTo>
                  <a:pt x="0" y="3"/>
                </a:lnTo>
                <a:lnTo>
                  <a:pt x="0" y="1"/>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64" name="îšḻïdê">
            <a:extLst>
              <a:ext uri="{FF2B5EF4-FFF2-40B4-BE49-F238E27FC236}">
                <a16:creationId xmlns:a16="http://schemas.microsoft.com/office/drawing/2014/main" id="{F6622BD1-81BC-4E79-AA4A-C9BEBC011B57}"/>
              </a:ext>
            </a:extLst>
          </p:cNvPr>
          <p:cNvSpPr/>
          <p:nvPr/>
        </p:nvSpPr>
        <p:spPr bwMode="auto">
          <a:xfrm>
            <a:off x="11692033" y="4827109"/>
            <a:ext cx="22171" cy="13303"/>
          </a:xfrm>
          <a:custGeom>
            <a:avLst/>
            <a:gdLst>
              <a:gd name="T0" fmla="*/ 4 w 5"/>
              <a:gd name="T1" fmla="*/ 3 h 3"/>
              <a:gd name="T2" fmla="*/ 4 w 5"/>
              <a:gd name="T3" fmla="*/ 3 h 3"/>
              <a:gd name="T4" fmla="*/ 2 w 5"/>
              <a:gd name="T5" fmla="*/ 3 h 3"/>
              <a:gd name="T6" fmla="*/ 2 w 5"/>
              <a:gd name="T7" fmla="*/ 3 h 3"/>
              <a:gd name="T8" fmla="*/ 2 w 5"/>
              <a:gd name="T9" fmla="*/ 3 h 3"/>
              <a:gd name="T10" fmla="*/ 0 w 5"/>
              <a:gd name="T11" fmla="*/ 0 h 3"/>
              <a:gd name="T12" fmla="*/ 0 w 5"/>
              <a:gd name="T13" fmla="*/ 0 h 3"/>
              <a:gd name="T14" fmla="*/ 0 w 5"/>
              <a:gd name="T15" fmla="*/ 0 h 3"/>
              <a:gd name="T16" fmla="*/ 4 w 5"/>
              <a:gd name="T17" fmla="*/ 0 h 3"/>
              <a:gd name="T18" fmla="*/ 5 w 5"/>
              <a:gd name="T19" fmla="*/ 0 h 3"/>
              <a:gd name="T20" fmla="*/ 4 w 5"/>
              <a:gd name="T21" fmla="*/ 1 h 3"/>
              <a:gd name="T22" fmla="*/ 4 w 5"/>
              <a:gd name="T23"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4" y="3"/>
                </a:moveTo>
                <a:lnTo>
                  <a:pt x="4" y="3"/>
                </a:lnTo>
                <a:lnTo>
                  <a:pt x="2" y="3"/>
                </a:lnTo>
                <a:lnTo>
                  <a:pt x="2" y="3"/>
                </a:lnTo>
                <a:lnTo>
                  <a:pt x="2" y="3"/>
                </a:lnTo>
                <a:lnTo>
                  <a:pt x="0" y="0"/>
                </a:lnTo>
                <a:lnTo>
                  <a:pt x="0" y="0"/>
                </a:lnTo>
                <a:lnTo>
                  <a:pt x="0" y="0"/>
                </a:lnTo>
                <a:lnTo>
                  <a:pt x="4" y="0"/>
                </a:lnTo>
                <a:lnTo>
                  <a:pt x="5" y="0"/>
                </a:lnTo>
                <a:lnTo>
                  <a:pt x="4" y="1"/>
                </a:lnTo>
                <a:lnTo>
                  <a:pt x="4" y="3"/>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65" name="íŝḻîdè">
            <a:extLst>
              <a:ext uri="{FF2B5EF4-FFF2-40B4-BE49-F238E27FC236}">
                <a16:creationId xmlns:a16="http://schemas.microsoft.com/office/drawing/2014/main" id="{39782271-8F24-454A-B950-96E9694F48DE}"/>
              </a:ext>
            </a:extLst>
          </p:cNvPr>
          <p:cNvSpPr/>
          <p:nvPr/>
        </p:nvSpPr>
        <p:spPr bwMode="auto">
          <a:xfrm>
            <a:off x="11687599" y="4760595"/>
            <a:ext cx="22171" cy="13303"/>
          </a:xfrm>
          <a:custGeom>
            <a:avLst/>
            <a:gdLst>
              <a:gd name="T0" fmla="*/ 5 w 5"/>
              <a:gd name="T1" fmla="*/ 0 h 3"/>
              <a:gd name="T2" fmla="*/ 3 w 5"/>
              <a:gd name="T3" fmla="*/ 2 h 3"/>
              <a:gd name="T4" fmla="*/ 3 w 5"/>
              <a:gd name="T5" fmla="*/ 3 h 3"/>
              <a:gd name="T6" fmla="*/ 0 w 5"/>
              <a:gd name="T7" fmla="*/ 0 h 3"/>
              <a:gd name="T8" fmla="*/ 0 w 5"/>
              <a:gd name="T9" fmla="*/ 0 h 3"/>
              <a:gd name="T10" fmla="*/ 3 w 5"/>
              <a:gd name="T11" fmla="*/ 0 h 3"/>
              <a:gd name="T12" fmla="*/ 3 w 5"/>
              <a:gd name="T13" fmla="*/ 0 h 3"/>
              <a:gd name="T14" fmla="*/ 5 w 5"/>
              <a:gd name="T15" fmla="*/ 0 h 3"/>
              <a:gd name="T16" fmla="*/ 5 w 5"/>
              <a:gd name="T17" fmla="*/ 0 h 3"/>
              <a:gd name="T18" fmla="*/ 5 w 5"/>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5" y="0"/>
                </a:moveTo>
                <a:lnTo>
                  <a:pt x="3" y="2"/>
                </a:lnTo>
                <a:lnTo>
                  <a:pt x="3" y="3"/>
                </a:lnTo>
                <a:lnTo>
                  <a:pt x="0" y="0"/>
                </a:lnTo>
                <a:lnTo>
                  <a:pt x="0" y="0"/>
                </a:lnTo>
                <a:lnTo>
                  <a:pt x="3" y="0"/>
                </a:lnTo>
                <a:lnTo>
                  <a:pt x="3" y="0"/>
                </a:lnTo>
                <a:lnTo>
                  <a:pt x="5" y="0"/>
                </a:lnTo>
                <a:lnTo>
                  <a:pt x="5" y="0"/>
                </a:lnTo>
                <a:lnTo>
                  <a:pt x="5"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66" name="ïŝ1ïḋè">
            <a:extLst>
              <a:ext uri="{FF2B5EF4-FFF2-40B4-BE49-F238E27FC236}">
                <a16:creationId xmlns:a16="http://schemas.microsoft.com/office/drawing/2014/main" id="{83E4319B-A40F-448C-B151-8DDD012EEC5B}"/>
              </a:ext>
            </a:extLst>
          </p:cNvPr>
          <p:cNvSpPr/>
          <p:nvPr/>
        </p:nvSpPr>
        <p:spPr bwMode="auto">
          <a:xfrm>
            <a:off x="11687599" y="4725121"/>
            <a:ext cx="22171" cy="22171"/>
          </a:xfrm>
          <a:custGeom>
            <a:avLst/>
            <a:gdLst>
              <a:gd name="T0" fmla="*/ 5 w 5"/>
              <a:gd name="T1" fmla="*/ 5 h 5"/>
              <a:gd name="T2" fmla="*/ 3 w 5"/>
              <a:gd name="T3" fmla="*/ 5 h 5"/>
              <a:gd name="T4" fmla="*/ 3 w 5"/>
              <a:gd name="T5" fmla="*/ 5 h 5"/>
              <a:gd name="T6" fmla="*/ 1 w 5"/>
              <a:gd name="T7" fmla="*/ 5 h 5"/>
              <a:gd name="T8" fmla="*/ 0 w 5"/>
              <a:gd name="T9" fmla="*/ 5 h 5"/>
              <a:gd name="T10" fmla="*/ 0 w 5"/>
              <a:gd name="T11" fmla="*/ 5 h 5"/>
              <a:gd name="T12" fmla="*/ 0 w 5"/>
              <a:gd name="T13" fmla="*/ 5 h 5"/>
              <a:gd name="T14" fmla="*/ 0 w 5"/>
              <a:gd name="T15" fmla="*/ 5 h 5"/>
              <a:gd name="T16" fmla="*/ 1 w 5"/>
              <a:gd name="T17" fmla="*/ 3 h 5"/>
              <a:gd name="T18" fmla="*/ 1 w 5"/>
              <a:gd name="T19" fmla="*/ 3 h 5"/>
              <a:gd name="T20" fmla="*/ 1 w 5"/>
              <a:gd name="T21" fmla="*/ 2 h 5"/>
              <a:gd name="T22" fmla="*/ 1 w 5"/>
              <a:gd name="T23" fmla="*/ 0 h 5"/>
              <a:gd name="T24" fmla="*/ 3 w 5"/>
              <a:gd name="T25" fmla="*/ 3 h 5"/>
              <a:gd name="T26" fmla="*/ 5 w 5"/>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5">
                <a:moveTo>
                  <a:pt x="5" y="5"/>
                </a:moveTo>
                <a:lnTo>
                  <a:pt x="3" y="5"/>
                </a:lnTo>
                <a:lnTo>
                  <a:pt x="3" y="5"/>
                </a:lnTo>
                <a:lnTo>
                  <a:pt x="1" y="5"/>
                </a:lnTo>
                <a:lnTo>
                  <a:pt x="0" y="5"/>
                </a:lnTo>
                <a:lnTo>
                  <a:pt x="0" y="5"/>
                </a:lnTo>
                <a:lnTo>
                  <a:pt x="0" y="5"/>
                </a:lnTo>
                <a:lnTo>
                  <a:pt x="0" y="5"/>
                </a:lnTo>
                <a:lnTo>
                  <a:pt x="1" y="3"/>
                </a:lnTo>
                <a:lnTo>
                  <a:pt x="1" y="3"/>
                </a:lnTo>
                <a:lnTo>
                  <a:pt x="1" y="2"/>
                </a:lnTo>
                <a:lnTo>
                  <a:pt x="1" y="0"/>
                </a:lnTo>
                <a:lnTo>
                  <a:pt x="3" y="3"/>
                </a:lnTo>
                <a:lnTo>
                  <a:pt x="5" y="5"/>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67" name="í$1ïďé">
            <a:extLst>
              <a:ext uri="{FF2B5EF4-FFF2-40B4-BE49-F238E27FC236}">
                <a16:creationId xmlns:a16="http://schemas.microsoft.com/office/drawing/2014/main" id="{8F550B4D-81D2-4E4F-A49D-5B1B28382417}"/>
              </a:ext>
            </a:extLst>
          </p:cNvPr>
          <p:cNvSpPr/>
          <p:nvPr/>
        </p:nvSpPr>
        <p:spPr bwMode="auto">
          <a:xfrm>
            <a:off x="11665428" y="4711818"/>
            <a:ext cx="0" cy="13303"/>
          </a:xfrm>
          <a:custGeom>
            <a:avLst/>
            <a:gdLst>
              <a:gd name="T0" fmla="*/ 0 h 3"/>
              <a:gd name="T1" fmla="*/ 0 h 3"/>
              <a:gd name="T2" fmla="*/ 0 h 3"/>
              <a:gd name="T3" fmla="*/ 0 h 3"/>
              <a:gd name="T4" fmla="*/ 1 h 3"/>
              <a:gd name="T5" fmla="*/ 3 h 3"/>
              <a:gd name="T6" fmla="*/ 1 h 3"/>
              <a:gd name="T7" fmla="*/ 0 h 3"/>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3">
                <a:moveTo>
                  <a:pt x="0" y="0"/>
                </a:moveTo>
                <a:lnTo>
                  <a:pt x="0" y="0"/>
                </a:lnTo>
                <a:lnTo>
                  <a:pt x="0" y="0"/>
                </a:lnTo>
                <a:lnTo>
                  <a:pt x="0" y="0"/>
                </a:lnTo>
                <a:lnTo>
                  <a:pt x="0" y="1"/>
                </a:lnTo>
                <a:lnTo>
                  <a:pt x="0" y="3"/>
                </a:lnTo>
                <a:lnTo>
                  <a:pt x="0" y="1"/>
                </a:lnTo>
                <a:lnTo>
                  <a:pt x="0"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68" name="íślídé">
            <a:extLst>
              <a:ext uri="{FF2B5EF4-FFF2-40B4-BE49-F238E27FC236}">
                <a16:creationId xmlns:a16="http://schemas.microsoft.com/office/drawing/2014/main" id="{6A81D191-4B6F-435E-9637-1254AD808390}"/>
              </a:ext>
            </a:extLst>
          </p:cNvPr>
          <p:cNvSpPr/>
          <p:nvPr/>
        </p:nvSpPr>
        <p:spPr bwMode="auto">
          <a:xfrm>
            <a:off x="11643257" y="4636435"/>
            <a:ext cx="8868" cy="17737"/>
          </a:xfrm>
          <a:custGeom>
            <a:avLst/>
            <a:gdLst>
              <a:gd name="T0" fmla="*/ 0 w 2"/>
              <a:gd name="T1" fmla="*/ 0 h 4"/>
              <a:gd name="T2" fmla="*/ 2 w 2"/>
              <a:gd name="T3" fmla="*/ 2 h 4"/>
              <a:gd name="T4" fmla="*/ 2 w 2"/>
              <a:gd name="T5" fmla="*/ 2 h 4"/>
              <a:gd name="T6" fmla="*/ 0 w 2"/>
              <a:gd name="T7" fmla="*/ 2 h 4"/>
              <a:gd name="T8" fmla="*/ 0 w 2"/>
              <a:gd name="T9" fmla="*/ 4 h 4"/>
              <a:gd name="T10" fmla="*/ 0 w 2"/>
              <a:gd name="T11" fmla="*/ 2 h 4"/>
              <a:gd name="T12" fmla="*/ 0 w 2"/>
              <a:gd name="T13" fmla="*/ 2 h 4"/>
              <a:gd name="T14" fmla="*/ 0 w 2"/>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0"/>
                </a:moveTo>
                <a:lnTo>
                  <a:pt x="2" y="2"/>
                </a:lnTo>
                <a:lnTo>
                  <a:pt x="2" y="2"/>
                </a:lnTo>
                <a:lnTo>
                  <a:pt x="0" y="2"/>
                </a:lnTo>
                <a:lnTo>
                  <a:pt x="0" y="4"/>
                </a:lnTo>
                <a:lnTo>
                  <a:pt x="0" y="2"/>
                </a:lnTo>
                <a:lnTo>
                  <a:pt x="0" y="2"/>
                </a:lnTo>
                <a:lnTo>
                  <a:pt x="0"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69" name="íṥliďé">
            <a:extLst>
              <a:ext uri="{FF2B5EF4-FFF2-40B4-BE49-F238E27FC236}">
                <a16:creationId xmlns:a16="http://schemas.microsoft.com/office/drawing/2014/main" id="{E9D5F4FF-C61E-446E-A725-97F18D5CFD6B}"/>
              </a:ext>
            </a:extLst>
          </p:cNvPr>
          <p:cNvSpPr/>
          <p:nvPr/>
        </p:nvSpPr>
        <p:spPr bwMode="auto">
          <a:xfrm>
            <a:off x="11687599" y="4689647"/>
            <a:ext cx="13303" cy="13303"/>
          </a:xfrm>
          <a:custGeom>
            <a:avLst/>
            <a:gdLst>
              <a:gd name="T0" fmla="*/ 3 w 3"/>
              <a:gd name="T1" fmla="*/ 0 h 3"/>
              <a:gd name="T2" fmla="*/ 3 w 3"/>
              <a:gd name="T3" fmla="*/ 1 h 3"/>
              <a:gd name="T4" fmla="*/ 3 w 3"/>
              <a:gd name="T5" fmla="*/ 1 h 3"/>
              <a:gd name="T6" fmla="*/ 1 w 3"/>
              <a:gd name="T7" fmla="*/ 3 h 3"/>
              <a:gd name="T8" fmla="*/ 1 w 3"/>
              <a:gd name="T9" fmla="*/ 3 h 3"/>
              <a:gd name="T10" fmla="*/ 1 w 3"/>
              <a:gd name="T11" fmla="*/ 1 h 3"/>
              <a:gd name="T12" fmla="*/ 0 w 3"/>
              <a:gd name="T13" fmla="*/ 0 h 3"/>
              <a:gd name="T14" fmla="*/ 0 w 3"/>
              <a:gd name="T15" fmla="*/ 0 h 3"/>
              <a:gd name="T16" fmla="*/ 1 w 3"/>
              <a:gd name="T17" fmla="*/ 0 h 3"/>
              <a:gd name="T18" fmla="*/ 3 w 3"/>
              <a:gd name="T19" fmla="*/ 0 h 3"/>
              <a:gd name="T20" fmla="*/ 3 w 3"/>
              <a:gd name="T21" fmla="*/ 0 h 3"/>
              <a:gd name="T22" fmla="*/ 3 w 3"/>
              <a:gd name="T23" fmla="*/ 0 h 3"/>
              <a:gd name="T24" fmla="*/ 3 w 3"/>
              <a:gd name="T25" fmla="*/ 0 h 3"/>
              <a:gd name="T26" fmla="*/ 3 w 3"/>
              <a:gd name="T2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3">
                <a:moveTo>
                  <a:pt x="3" y="0"/>
                </a:moveTo>
                <a:lnTo>
                  <a:pt x="3" y="1"/>
                </a:lnTo>
                <a:lnTo>
                  <a:pt x="3" y="1"/>
                </a:lnTo>
                <a:lnTo>
                  <a:pt x="1" y="3"/>
                </a:lnTo>
                <a:lnTo>
                  <a:pt x="1" y="3"/>
                </a:lnTo>
                <a:lnTo>
                  <a:pt x="1" y="1"/>
                </a:lnTo>
                <a:lnTo>
                  <a:pt x="0" y="0"/>
                </a:lnTo>
                <a:lnTo>
                  <a:pt x="0" y="0"/>
                </a:lnTo>
                <a:lnTo>
                  <a:pt x="1" y="0"/>
                </a:lnTo>
                <a:lnTo>
                  <a:pt x="3" y="0"/>
                </a:lnTo>
                <a:lnTo>
                  <a:pt x="3" y="0"/>
                </a:lnTo>
                <a:lnTo>
                  <a:pt x="3" y="0"/>
                </a:lnTo>
                <a:lnTo>
                  <a:pt x="3" y="0"/>
                </a:lnTo>
                <a:lnTo>
                  <a:pt x="3"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70" name="îṩḻîḍe">
            <a:extLst>
              <a:ext uri="{FF2B5EF4-FFF2-40B4-BE49-F238E27FC236}">
                <a16:creationId xmlns:a16="http://schemas.microsoft.com/office/drawing/2014/main" id="{EDE8E156-E947-4CDC-91E8-52C941AB7BA8}"/>
              </a:ext>
            </a:extLst>
          </p:cNvPr>
          <p:cNvSpPr/>
          <p:nvPr/>
        </p:nvSpPr>
        <p:spPr bwMode="auto">
          <a:xfrm>
            <a:off x="11665428" y="4636435"/>
            <a:ext cx="0" cy="8868"/>
          </a:xfrm>
          <a:custGeom>
            <a:avLst/>
            <a:gdLst>
              <a:gd name="T0" fmla="*/ 2 h 2"/>
              <a:gd name="T1" fmla="*/ 2 h 2"/>
              <a:gd name="T2" fmla="*/ 0 h 2"/>
              <a:gd name="T3" fmla="*/ 2 h 2"/>
              <a:gd name="T4" fmla="*/ 2 h 2"/>
              <a:gd name="T5" fmla="*/ 2 h 2"/>
              <a:gd name="T6" fmla="*/ 2 h 2"/>
              <a:gd name="T7" fmla="*/ 2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2"/>
                </a:moveTo>
                <a:lnTo>
                  <a:pt x="0" y="2"/>
                </a:lnTo>
                <a:lnTo>
                  <a:pt x="0" y="0"/>
                </a:lnTo>
                <a:lnTo>
                  <a:pt x="0" y="2"/>
                </a:lnTo>
                <a:lnTo>
                  <a:pt x="0" y="2"/>
                </a:lnTo>
                <a:lnTo>
                  <a:pt x="0" y="2"/>
                </a:lnTo>
                <a:lnTo>
                  <a:pt x="0" y="2"/>
                </a:lnTo>
                <a:lnTo>
                  <a:pt x="0" y="2"/>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71" name="ïṧľiḋê">
            <a:extLst>
              <a:ext uri="{FF2B5EF4-FFF2-40B4-BE49-F238E27FC236}">
                <a16:creationId xmlns:a16="http://schemas.microsoft.com/office/drawing/2014/main" id="{ABA08D97-2B26-4D87-BD74-92819D487476}"/>
              </a:ext>
            </a:extLst>
          </p:cNvPr>
          <p:cNvSpPr/>
          <p:nvPr/>
        </p:nvSpPr>
        <p:spPr bwMode="auto">
          <a:xfrm>
            <a:off x="11678731" y="4636435"/>
            <a:ext cx="8868" cy="17737"/>
          </a:xfrm>
          <a:custGeom>
            <a:avLst/>
            <a:gdLst>
              <a:gd name="T0" fmla="*/ 0 w 2"/>
              <a:gd name="T1" fmla="*/ 4 h 4"/>
              <a:gd name="T2" fmla="*/ 0 w 2"/>
              <a:gd name="T3" fmla="*/ 4 h 4"/>
              <a:gd name="T4" fmla="*/ 0 w 2"/>
              <a:gd name="T5" fmla="*/ 4 h 4"/>
              <a:gd name="T6" fmla="*/ 0 w 2"/>
              <a:gd name="T7" fmla="*/ 4 h 4"/>
              <a:gd name="T8" fmla="*/ 0 w 2"/>
              <a:gd name="T9" fmla="*/ 4 h 4"/>
              <a:gd name="T10" fmla="*/ 0 w 2"/>
              <a:gd name="T11" fmla="*/ 2 h 4"/>
              <a:gd name="T12" fmla="*/ 0 w 2"/>
              <a:gd name="T13" fmla="*/ 0 h 4"/>
              <a:gd name="T14" fmla="*/ 2 w 2"/>
              <a:gd name="T15" fmla="*/ 2 h 4"/>
              <a:gd name="T16" fmla="*/ 2 w 2"/>
              <a:gd name="T17" fmla="*/ 2 h 4"/>
              <a:gd name="T18" fmla="*/ 0 w 2"/>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0" y="4"/>
                </a:moveTo>
                <a:lnTo>
                  <a:pt x="0" y="4"/>
                </a:lnTo>
                <a:lnTo>
                  <a:pt x="0" y="4"/>
                </a:lnTo>
                <a:lnTo>
                  <a:pt x="0" y="4"/>
                </a:lnTo>
                <a:lnTo>
                  <a:pt x="0" y="4"/>
                </a:lnTo>
                <a:lnTo>
                  <a:pt x="0" y="2"/>
                </a:lnTo>
                <a:lnTo>
                  <a:pt x="0" y="0"/>
                </a:lnTo>
                <a:lnTo>
                  <a:pt x="2" y="2"/>
                </a:lnTo>
                <a:lnTo>
                  <a:pt x="2" y="2"/>
                </a:lnTo>
                <a:lnTo>
                  <a:pt x="0" y="4"/>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72" name="iṩlïḑe">
            <a:extLst>
              <a:ext uri="{FF2B5EF4-FFF2-40B4-BE49-F238E27FC236}">
                <a16:creationId xmlns:a16="http://schemas.microsoft.com/office/drawing/2014/main" id="{192E9DB8-05E8-4AD5-BDD1-02E451F292C6}"/>
              </a:ext>
            </a:extLst>
          </p:cNvPr>
          <p:cNvSpPr/>
          <p:nvPr/>
        </p:nvSpPr>
        <p:spPr bwMode="auto">
          <a:xfrm>
            <a:off x="11629954" y="4578790"/>
            <a:ext cx="4434" cy="17737"/>
          </a:xfrm>
          <a:custGeom>
            <a:avLst/>
            <a:gdLst>
              <a:gd name="T0" fmla="*/ 1 w 1"/>
              <a:gd name="T1" fmla="*/ 4 h 4"/>
              <a:gd name="T2" fmla="*/ 0 w 1"/>
              <a:gd name="T3" fmla="*/ 2 h 4"/>
              <a:gd name="T4" fmla="*/ 0 w 1"/>
              <a:gd name="T5" fmla="*/ 0 h 4"/>
              <a:gd name="T6" fmla="*/ 1 w 1"/>
              <a:gd name="T7" fmla="*/ 0 h 4"/>
              <a:gd name="T8" fmla="*/ 1 w 1"/>
              <a:gd name="T9" fmla="*/ 2 h 4"/>
              <a:gd name="T10" fmla="*/ 1 w 1"/>
              <a:gd name="T11" fmla="*/ 4 h 4"/>
            </a:gdLst>
            <a:ahLst/>
            <a:cxnLst>
              <a:cxn ang="0">
                <a:pos x="T0" y="T1"/>
              </a:cxn>
              <a:cxn ang="0">
                <a:pos x="T2" y="T3"/>
              </a:cxn>
              <a:cxn ang="0">
                <a:pos x="T4" y="T5"/>
              </a:cxn>
              <a:cxn ang="0">
                <a:pos x="T6" y="T7"/>
              </a:cxn>
              <a:cxn ang="0">
                <a:pos x="T8" y="T9"/>
              </a:cxn>
              <a:cxn ang="0">
                <a:pos x="T10" y="T11"/>
              </a:cxn>
            </a:cxnLst>
            <a:rect l="0" t="0" r="r" b="b"/>
            <a:pathLst>
              <a:path w="1" h="4">
                <a:moveTo>
                  <a:pt x="1" y="4"/>
                </a:moveTo>
                <a:lnTo>
                  <a:pt x="0" y="2"/>
                </a:lnTo>
                <a:lnTo>
                  <a:pt x="0" y="0"/>
                </a:lnTo>
                <a:lnTo>
                  <a:pt x="1" y="0"/>
                </a:lnTo>
                <a:lnTo>
                  <a:pt x="1" y="2"/>
                </a:lnTo>
                <a:lnTo>
                  <a:pt x="1" y="4"/>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73" name="iŝ1iḑê">
            <a:extLst>
              <a:ext uri="{FF2B5EF4-FFF2-40B4-BE49-F238E27FC236}">
                <a16:creationId xmlns:a16="http://schemas.microsoft.com/office/drawing/2014/main" id="{4D9A3EC7-6312-4450-9425-B9BB110B44B2}"/>
              </a:ext>
            </a:extLst>
          </p:cNvPr>
          <p:cNvSpPr/>
          <p:nvPr/>
        </p:nvSpPr>
        <p:spPr bwMode="auto">
          <a:xfrm>
            <a:off x="11643257" y="4587659"/>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74" name="îSḷíḋé">
            <a:extLst>
              <a:ext uri="{FF2B5EF4-FFF2-40B4-BE49-F238E27FC236}">
                <a16:creationId xmlns:a16="http://schemas.microsoft.com/office/drawing/2014/main" id="{BE8E3EAB-5E6B-4F3F-8A80-15811B93BF72}"/>
              </a:ext>
            </a:extLst>
          </p:cNvPr>
          <p:cNvSpPr/>
          <p:nvPr/>
        </p:nvSpPr>
        <p:spPr bwMode="auto">
          <a:xfrm>
            <a:off x="11652125" y="4565488"/>
            <a:ext cx="4434" cy="8868"/>
          </a:xfrm>
          <a:custGeom>
            <a:avLst/>
            <a:gdLst>
              <a:gd name="T0" fmla="*/ 1 w 1"/>
              <a:gd name="T1" fmla="*/ 0 h 2"/>
              <a:gd name="T2" fmla="*/ 1 w 1"/>
              <a:gd name="T3" fmla="*/ 0 h 2"/>
              <a:gd name="T4" fmla="*/ 1 w 1"/>
              <a:gd name="T5" fmla="*/ 0 h 2"/>
              <a:gd name="T6" fmla="*/ 1 w 1"/>
              <a:gd name="T7" fmla="*/ 2 h 2"/>
              <a:gd name="T8" fmla="*/ 0 w 1"/>
              <a:gd name="T9" fmla="*/ 0 h 2"/>
              <a:gd name="T10" fmla="*/ 1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1" y="0"/>
                </a:moveTo>
                <a:lnTo>
                  <a:pt x="1" y="0"/>
                </a:lnTo>
                <a:lnTo>
                  <a:pt x="1" y="0"/>
                </a:lnTo>
                <a:lnTo>
                  <a:pt x="1" y="2"/>
                </a:lnTo>
                <a:lnTo>
                  <a:pt x="0" y="0"/>
                </a:lnTo>
                <a:lnTo>
                  <a:pt x="1"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75" name="išḷíḍê">
            <a:extLst>
              <a:ext uri="{FF2B5EF4-FFF2-40B4-BE49-F238E27FC236}">
                <a16:creationId xmlns:a16="http://schemas.microsoft.com/office/drawing/2014/main" id="{A15847C4-918C-42C7-8C18-3E2122B359EF}"/>
              </a:ext>
            </a:extLst>
          </p:cNvPr>
          <p:cNvSpPr/>
          <p:nvPr/>
        </p:nvSpPr>
        <p:spPr bwMode="auto">
          <a:xfrm>
            <a:off x="11678731" y="4578790"/>
            <a:ext cx="0" cy="17737"/>
          </a:xfrm>
          <a:custGeom>
            <a:avLst/>
            <a:gdLst>
              <a:gd name="T0" fmla="*/ 0 h 4"/>
              <a:gd name="T1" fmla="*/ 2 h 4"/>
              <a:gd name="T2" fmla="*/ 2 h 4"/>
              <a:gd name="T3" fmla="*/ 4 h 4"/>
              <a:gd name="T4" fmla="*/ 2 h 4"/>
              <a:gd name="T5" fmla="*/ 0 h 4"/>
            </a:gdLst>
            <a:ahLst/>
            <a:cxnLst>
              <a:cxn ang="0">
                <a:pos x="0" y="T0"/>
              </a:cxn>
              <a:cxn ang="0">
                <a:pos x="0" y="T1"/>
              </a:cxn>
              <a:cxn ang="0">
                <a:pos x="0" y="T2"/>
              </a:cxn>
              <a:cxn ang="0">
                <a:pos x="0" y="T3"/>
              </a:cxn>
              <a:cxn ang="0">
                <a:pos x="0" y="T4"/>
              </a:cxn>
              <a:cxn ang="0">
                <a:pos x="0" y="T5"/>
              </a:cxn>
            </a:cxnLst>
            <a:rect l="0" t="0" r="r" b="b"/>
            <a:pathLst>
              <a:path h="4">
                <a:moveTo>
                  <a:pt x="0" y="0"/>
                </a:moveTo>
                <a:lnTo>
                  <a:pt x="0" y="2"/>
                </a:lnTo>
                <a:lnTo>
                  <a:pt x="0" y="2"/>
                </a:lnTo>
                <a:lnTo>
                  <a:pt x="0" y="4"/>
                </a:lnTo>
                <a:lnTo>
                  <a:pt x="0" y="2"/>
                </a:lnTo>
                <a:lnTo>
                  <a:pt x="0"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76" name="íŝḻiďe">
            <a:extLst>
              <a:ext uri="{FF2B5EF4-FFF2-40B4-BE49-F238E27FC236}">
                <a16:creationId xmlns:a16="http://schemas.microsoft.com/office/drawing/2014/main" id="{3241D47F-F210-4B3D-BE78-341BD8CBDAEC}"/>
              </a:ext>
            </a:extLst>
          </p:cNvPr>
          <p:cNvSpPr/>
          <p:nvPr/>
        </p:nvSpPr>
        <p:spPr bwMode="auto">
          <a:xfrm>
            <a:off x="11665428" y="4587659"/>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77" name="ís1íḋé">
            <a:extLst>
              <a:ext uri="{FF2B5EF4-FFF2-40B4-BE49-F238E27FC236}">
                <a16:creationId xmlns:a16="http://schemas.microsoft.com/office/drawing/2014/main" id="{4CE64516-B385-4624-B369-4CBBF94F07C8}"/>
              </a:ext>
            </a:extLst>
          </p:cNvPr>
          <p:cNvSpPr/>
          <p:nvPr/>
        </p:nvSpPr>
        <p:spPr bwMode="auto">
          <a:xfrm>
            <a:off x="11652125" y="4600962"/>
            <a:ext cx="4434" cy="0"/>
          </a:xfrm>
          <a:custGeom>
            <a:avLst/>
            <a:gdLst>
              <a:gd name="T0" fmla="*/ 0 w 1"/>
              <a:gd name="T1" fmla="*/ 1 w 1"/>
              <a:gd name="T2" fmla="*/ 1 w 1"/>
              <a:gd name="T3" fmla="*/ 0 w 1"/>
              <a:gd name="T4" fmla="*/ 0 w 1"/>
              <a:gd name="T5" fmla="*/ 0 w 1"/>
            </a:gdLst>
            <a:ahLst/>
            <a:cxnLst>
              <a:cxn ang="0">
                <a:pos x="T0" y="0"/>
              </a:cxn>
              <a:cxn ang="0">
                <a:pos x="T1" y="0"/>
              </a:cxn>
              <a:cxn ang="0">
                <a:pos x="T2" y="0"/>
              </a:cxn>
              <a:cxn ang="0">
                <a:pos x="T3" y="0"/>
              </a:cxn>
              <a:cxn ang="0">
                <a:pos x="T4" y="0"/>
              </a:cxn>
              <a:cxn ang="0">
                <a:pos x="T5" y="0"/>
              </a:cxn>
            </a:cxnLst>
            <a:rect l="0" t="0" r="r" b="b"/>
            <a:pathLst>
              <a:path w="1">
                <a:moveTo>
                  <a:pt x="0" y="0"/>
                </a:moveTo>
                <a:lnTo>
                  <a:pt x="1" y="0"/>
                </a:lnTo>
                <a:lnTo>
                  <a:pt x="1" y="0"/>
                </a:lnTo>
                <a:lnTo>
                  <a:pt x="0" y="0"/>
                </a:lnTo>
                <a:lnTo>
                  <a:pt x="0" y="0"/>
                </a:lnTo>
                <a:lnTo>
                  <a:pt x="0"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78" name="íṣ1idè">
            <a:extLst>
              <a:ext uri="{FF2B5EF4-FFF2-40B4-BE49-F238E27FC236}">
                <a16:creationId xmlns:a16="http://schemas.microsoft.com/office/drawing/2014/main" id="{B2BBC12B-B9CE-423D-A57B-02545BC39B6B}"/>
              </a:ext>
            </a:extLst>
          </p:cNvPr>
          <p:cNvSpPr/>
          <p:nvPr/>
        </p:nvSpPr>
        <p:spPr bwMode="auto">
          <a:xfrm>
            <a:off x="11687599" y="4596527"/>
            <a:ext cx="4434" cy="4434"/>
          </a:xfrm>
          <a:custGeom>
            <a:avLst/>
            <a:gdLst>
              <a:gd name="T0" fmla="*/ 0 w 1"/>
              <a:gd name="T1" fmla="*/ 1 h 1"/>
              <a:gd name="T2" fmla="*/ 0 w 1"/>
              <a:gd name="T3" fmla="*/ 1 h 1"/>
              <a:gd name="T4" fmla="*/ 0 w 1"/>
              <a:gd name="T5" fmla="*/ 1 h 1"/>
              <a:gd name="T6" fmla="*/ 0 w 1"/>
              <a:gd name="T7" fmla="*/ 1 h 1"/>
              <a:gd name="T8" fmla="*/ 0 w 1"/>
              <a:gd name="T9" fmla="*/ 0 h 1"/>
              <a:gd name="T10" fmla="*/ 1 w 1"/>
              <a:gd name="T11" fmla="*/ 1 h 1"/>
              <a:gd name="T12" fmla="*/ 1 w 1"/>
              <a:gd name="T13" fmla="*/ 1 h 1"/>
              <a:gd name="T14" fmla="*/ 0 w 1"/>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
                <a:moveTo>
                  <a:pt x="0" y="1"/>
                </a:moveTo>
                <a:lnTo>
                  <a:pt x="0" y="1"/>
                </a:lnTo>
                <a:lnTo>
                  <a:pt x="0" y="1"/>
                </a:lnTo>
                <a:lnTo>
                  <a:pt x="0" y="1"/>
                </a:lnTo>
                <a:lnTo>
                  <a:pt x="0" y="0"/>
                </a:lnTo>
                <a:lnTo>
                  <a:pt x="1" y="1"/>
                </a:lnTo>
                <a:lnTo>
                  <a:pt x="1" y="1"/>
                </a:lnTo>
                <a:lnTo>
                  <a:pt x="0" y="1"/>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79" name="îṩḻiďè">
            <a:extLst>
              <a:ext uri="{FF2B5EF4-FFF2-40B4-BE49-F238E27FC236}">
                <a16:creationId xmlns:a16="http://schemas.microsoft.com/office/drawing/2014/main" id="{470A408E-4DAC-4041-A13C-092D7FD63E98}"/>
              </a:ext>
            </a:extLst>
          </p:cNvPr>
          <p:cNvSpPr/>
          <p:nvPr/>
        </p:nvSpPr>
        <p:spPr bwMode="auto">
          <a:xfrm>
            <a:off x="11652125" y="4543317"/>
            <a:ext cx="4434" cy="8868"/>
          </a:xfrm>
          <a:custGeom>
            <a:avLst/>
            <a:gdLst>
              <a:gd name="T0" fmla="*/ 0 w 1"/>
              <a:gd name="T1" fmla="*/ 2 h 2"/>
              <a:gd name="T2" fmla="*/ 0 w 1"/>
              <a:gd name="T3" fmla="*/ 2 h 2"/>
              <a:gd name="T4" fmla="*/ 0 w 1"/>
              <a:gd name="T5" fmla="*/ 0 h 2"/>
              <a:gd name="T6" fmla="*/ 1 w 1"/>
              <a:gd name="T7" fmla="*/ 2 h 2"/>
              <a:gd name="T8" fmla="*/ 1 w 1"/>
              <a:gd name="T9" fmla="*/ 2 h 2"/>
              <a:gd name="T10" fmla="*/ 0 w 1"/>
              <a:gd name="T11" fmla="*/ 2 h 2"/>
            </a:gdLst>
            <a:ahLst/>
            <a:cxnLst>
              <a:cxn ang="0">
                <a:pos x="T0" y="T1"/>
              </a:cxn>
              <a:cxn ang="0">
                <a:pos x="T2" y="T3"/>
              </a:cxn>
              <a:cxn ang="0">
                <a:pos x="T4" y="T5"/>
              </a:cxn>
              <a:cxn ang="0">
                <a:pos x="T6" y="T7"/>
              </a:cxn>
              <a:cxn ang="0">
                <a:pos x="T8" y="T9"/>
              </a:cxn>
              <a:cxn ang="0">
                <a:pos x="T10" y="T11"/>
              </a:cxn>
            </a:cxnLst>
            <a:rect l="0" t="0" r="r" b="b"/>
            <a:pathLst>
              <a:path w="1" h="2">
                <a:moveTo>
                  <a:pt x="0" y="2"/>
                </a:moveTo>
                <a:lnTo>
                  <a:pt x="0" y="2"/>
                </a:lnTo>
                <a:lnTo>
                  <a:pt x="0" y="0"/>
                </a:lnTo>
                <a:lnTo>
                  <a:pt x="1" y="2"/>
                </a:lnTo>
                <a:lnTo>
                  <a:pt x="1" y="2"/>
                </a:lnTo>
                <a:lnTo>
                  <a:pt x="0" y="2"/>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80" name="íṣľïdè">
            <a:extLst>
              <a:ext uri="{FF2B5EF4-FFF2-40B4-BE49-F238E27FC236}">
                <a16:creationId xmlns:a16="http://schemas.microsoft.com/office/drawing/2014/main" id="{C9BB7F13-4346-44D5-AC66-4FE58767D802}"/>
              </a:ext>
            </a:extLst>
          </p:cNvPr>
          <p:cNvSpPr/>
          <p:nvPr/>
        </p:nvSpPr>
        <p:spPr bwMode="auto">
          <a:xfrm>
            <a:off x="11643257" y="452114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81" name="iṣ1íḍê">
            <a:extLst>
              <a:ext uri="{FF2B5EF4-FFF2-40B4-BE49-F238E27FC236}">
                <a16:creationId xmlns:a16="http://schemas.microsoft.com/office/drawing/2014/main" id="{6376E790-7149-4A15-A06D-27C331FA2FCD}"/>
              </a:ext>
            </a:extLst>
          </p:cNvPr>
          <p:cNvSpPr/>
          <p:nvPr/>
        </p:nvSpPr>
        <p:spPr bwMode="auto">
          <a:xfrm>
            <a:off x="11594480" y="4419157"/>
            <a:ext cx="4434" cy="8868"/>
          </a:xfrm>
          <a:custGeom>
            <a:avLst/>
            <a:gdLst>
              <a:gd name="T0" fmla="*/ 0 w 1"/>
              <a:gd name="T1" fmla="*/ 0 h 2"/>
              <a:gd name="T2" fmla="*/ 1 w 1"/>
              <a:gd name="T3" fmla="*/ 0 h 2"/>
              <a:gd name="T4" fmla="*/ 1 w 1"/>
              <a:gd name="T5" fmla="*/ 2 h 2"/>
              <a:gd name="T6" fmla="*/ 1 w 1"/>
              <a:gd name="T7" fmla="*/ 2 h 2"/>
              <a:gd name="T8" fmla="*/ 1 w 1"/>
              <a:gd name="T9" fmla="*/ 2 h 2"/>
              <a:gd name="T10" fmla="*/ 0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0" y="0"/>
                </a:moveTo>
                <a:lnTo>
                  <a:pt x="1" y="0"/>
                </a:lnTo>
                <a:lnTo>
                  <a:pt x="1" y="2"/>
                </a:lnTo>
                <a:lnTo>
                  <a:pt x="1" y="2"/>
                </a:lnTo>
                <a:lnTo>
                  <a:pt x="1" y="2"/>
                </a:lnTo>
                <a:lnTo>
                  <a:pt x="0"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82" name="iSḷïḓè">
            <a:extLst>
              <a:ext uri="{FF2B5EF4-FFF2-40B4-BE49-F238E27FC236}">
                <a16:creationId xmlns:a16="http://schemas.microsoft.com/office/drawing/2014/main" id="{3E0004CA-C0BA-408C-AAA4-285A299F7C9A}"/>
              </a:ext>
            </a:extLst>
          </p:cNvPr>
          <p:cNvSpPr/>
          <p:nvPr/>
        </p:nvSpPr>
        <p:spPr bwMode="auto">
          <a:xfrm>
            <a:off x="11709770" y="4419157"/>
            <a:ext cx="0" cy="8868"/>
          </a:xfrm>
          <a:custGeom>
            <a:avLst/>
            <a:gdLst>
              <a:gd name="T0" fmla="*/ 2 h 2"/>
              <a:gd name="T1" fmla="*/ 0 h 2"/>
              <a:gd name="T2" fmla="*/ 0 h 2"/>
              <a:gd name="T3" fmla="*/ 0 h 2"/>
              <a:gd name="T4" fmla="*/ 2 h 2"/>
              <a:gd name="T5" fmla="*/ 2 h 2"/>
            </a:gdLst>
            <a:ahLst/>
            <a:cxnLst>
              <a:cxn ang="0">
                <a:pos x="0" y="T0"/>
              </a:cxn>
              <a:cxn ang="0">
                <a:pos x="0" y="T1"/>
              </a:cxn>
              <a:cxn ang="0">
                <a:pos x="0" y="T2"/>
              </a:cxn>
              <a:cxn ang="0">
                <a:pos x="0" y="T3"/>
              </a:cxn>
              <a:cxn ang="0">
                <a:pos x="0" y="T4"/>
              </a:cxn>
              <a:cxn ang="0">
                <a:pos x="0" y="T5"/>
              </a:cxn>
            </a:cxnLst>
            <a:rect l="0" t="0" r="r" b="b"/>
            <a:pathLst>
              <a:path h="2">
                <a:moveTo>
                  <a:pt x="0" y="2"/>
                </a:moveTo>
                <a:lnTo>
                  <a:pt x="0" y="0"/>
                </a:lnTo>
                <a:lnTo>
                  <a:pt x="0" y="0"/>
                </a:lnTo>
                <a:lnTo>
                  <a:pt x="0" y="0"/>
                </a:lnTo>
                <a:lnTo>
                  <a:pt x="0" y="2"/>
                </a:lnTo>
                <a:lnTo>
                  <a:pt x="0" y="2"/>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83" name="ï$ḷiďé">
            <a:extLst>
              <a:ext uri="{FF2B5EF4-FFF2-40B4-BE49-F238E27FC236}">
                <a16:creationId xmlns:a16="http://schemas.microsoft.com/office/drawing/2014/main" id="{E4B2C169-7E5B-4B2F-B94D-E9FE28F77E6A}"/>
              </a:ext>
            </a:extLst>
          </p:cNvPr>
          <p:cNvSpPr/>
          <p:nvPr/>
        </p:nvSpPr>
        <p:spPr bwMode="auto">
          <a:xfrm>
            <a:off x="11652125" y="4494539"/>
            <a:ext cx="4434" cy="13303"/>
          </a:xfrm>
          <a:custGeom>
            <a:avLst/>
            <a:gdLst>
              <a:gd name="T0" fmla="*/ 0 w 1"/>
              <a:gd name="T1" fmla="*/ 0 h 2"/>
              <a:gd name="T2" fmla="*/ 0 w 1"/>
              <a:gd name="T3" fmla="*/ 0 h 2"/>
              <a:gd name="T4" fmla="*/ 1 w 1"/>
              <a:gd name="T5" fmla="*/ 0 h 2"/>
              <a:gd name="T6" fmla="*/ 0 w 1"/>
              <a:gd name="T7" fmla="*/ 1 h 2"/>
              <a:gd name="T8" fmla="*/ 0 w 1"/>
              <a:gd name="T9" fmla="*/ 2 h 2"/>
              <a:gd name="T10" fmla="*/ 0 w 1"/>
              <a:gd name="T11" fmla="*/ 1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cubicBezTo>
                  <a:pt x="0" y="0"/>
                  <a:pt x="0" y="0"/>
                  <a:pt x="0" y="0"/>
                </a:cubicBezTo>
                <a:cubicBezTo>
                  <a:pt x="1" y="0"/>
                  <a:pt x="1" y="0"/>
                  <a:pt x="1" y="0"/>
                </a:cubicBezTo>
                <a:cubicBezTo>
                  <a:pt x="0" y="1"/>
                  <a:pt x="0" y="1"/>
                  <a:pt x="0" y="1"/>
                </a:cubicBezTo>
                <a:cubicBezTo>
                  <a:pt x="0" y="2"/>
                  <a:pt x="0" y="2"/>
                  <a:pt x="0" y="2"/>
                </a:cubicBezTo>
                <a:cubicBezTo>
                  <a:pt x="0" y="1"/>
                  <a:pt x="0" y="1"/>
                  <a:pt x="0" y="1"/>
                </a:cubicBezTo>
                <a:lnTo>
                  <a:pt x="0"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84" name="îSḷíḓê">
            <a:extLst>
              <a:ext uri="{FF2B5EF4-FFF2-40B4-BE49-F238E27FC236}">
                <a16:creationId xmlns:a16="http://schemas.microsoft.com/office/drawing/2014/main" id="{56209EDB-93E9-4A0A-9F20-5E06489D98EF}"/>
              </a:ext>
            </a:extLst>
          </p:cNvPr>
          <p:cNvSpPr/>
          <p:nvPr/>
        </p:nvSpPr>
        <p:spPr bwMode="auto">
          <a:xfrm>
            <a:off x="11656559" y="452114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85" name="i$ḻîḓè">
            <a:extLst>
              <a:ext uri="{FF2B5EF4-FFF2-40B4-BE49-F238E27FC236}">
                <a16:creationId xmlns:a16="http://schemas.microsoft.com/office/drawing/2014/main" id="{D2EFD375-78F5-409A-B447-85DF96287EB2}"/>
              </a:ext>
            </a:extLst>
          </p:cNvPr>
          <p:cNvSpPr/>
          <p:nvPr/>
        </p:nvSpPr>
        <p:spPr bwMode="auto">
          <a:xfrm>
            <a:off x="11700902" y="4578790"/>
            <a:ext cx="0" cy="8868"/>
          </a:xfrm>
          <a:custGeom>
            <a:avLst/>
            <a:gdLst>
              <a:gd name="T0" fmla="*/ 2 h 2"/>
              <a:gd name="T1" fmla="*/ 2 h 2"/>
              <a:gd name="T2" fmla="*/ 0 h 2"/>
              <a:gd name="T3" fmla="*/ 0 h 2"/>
              <a:gd name="T4" fmla="*/ 2 h 2"/>
              <a:gd name="T5" fmla="*/ 2 h 2"/>
            </a:gdLst>
            <a:ahLst/>
            <a:cxnLst>
              <a:cxn ang="0">
                <a:pos x="0" y="T0"/>
              </a:cxn>
              <a:cxn ang="0">
                <a:pos x="0" y="T1"/>
              </a:cxn>
              <a:cxn ang="0">
                <a:pos x="0" y="T2"/>
              </a:cxn>
              <a:cxn ang="0">
                <a:pos x="0" y="T3"/>
              </a:cxn>
              <a:cxn ang="0">
                <a:pos x="0" y="T4"/>
              </a:cxn>
              <a:cxn ang="0">
                <a:pos x="0" y="T5"/>
              </a:cxn>
            </a:cxnLst>
            <a:rect l="0" t="0" r="r" b="b"/>
            <a:pathLst>
              <a:path h="2">
                <a:moveTo>
                  <a:pt x="0" y="2"/>
                </a:moveTo>
                <a:lnTo>
                  <a:pt x="0" y="2"/>
                </a:lnTo>
                <a:lnTo>
                  <a:pt x="0" y="0"/>
                </a:lnTo>
                <a:lnTo>
                  <a:pt x="0" y="0"/>
                </a:lnTo>
                <a:lnTo>
                  <a:pt x="0" y="2"/>
                </a:lnTo>
                <a:lnTo>
                  <a:pt x="0" y="2"/>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86" name="îṩ1îḍé">
            <a:extLst>
              <a:ext uri="{FF2B5EF4-FFF2-40B4-BE49-F238E27FC236}">
                <a16:creationId xmlns:a16="http://schemas.microsoft.com/office/drawing/2014/main" id="{229BB3C7-E964-4BAB-B333-B863BF5B3C52}"/>
              </a:ext>
            </a:extLst>
          </p:cNvPr>
          <p:cNvSpPr/>
          <p:nvPr/>
        </p:nvSpPr>
        <p:spPr bwMode="auto">
          <a:xfrm>
            <a:off x="11687599" y="4565488"/>
            <a:ext cx="4434" cy="8868"/>
          </a:xfrm>
          <a:custGeom>
            <a:avLst/>
            <a:gdLst>
              <a:gd name="T0" fmla="*/ 1 w 1"/>
              <a:gd name="T1" fmla="*/ 0 h 2"/>
              <a:gd name="T2" fmla="*/ 0 w 1"/>
              <a:gd name="T3" fmla="*/ 2 h 2"/>
              <a:gd name="T4" fmla="*/ 0 w 1"/>
              <a:gd name="T5" fmla="*/ 2 h 2"/>
              <a:gd name="T6" fmla="*/ 0 w 1"/>
              <a:gd name="T7" fmla="*/ 0 h 2"/>
              <a:gd name="T8" fmla="*/ 0 w 1"/>
              <a:gd name="T9" fmla="*/ 0 h 2"/>
              <a:gd name="T10" fmla="*/ 1 w 1"/>
              <a:gd name="T11" fmla="*/ 0 h 2"/>
              <a:gd name="T12" fmla="*/ 1 w 1"/>
              <a:gd name="T13" fmla="*/ 0 h 2"/>
              <a:gd name="T14" fmla="*/ 1 w 1"/>
              <a:gd name="T15" fmla="*/ 0 h 2"/>
              <a:gd name="T16" fmla="*/ 1 w 1"/>
              <a:gd name="T17" fmla="*/ 0 h 2"/>
              <a:gd name="T18" fmla="*/ 1 w 1"/>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2">
                <a:moveTo>
                  <a:pt x="1" y="0"/>
                </a:moveTo>
                <a:lnTo>
                  <a:pt x="0" y="2"/>
                </a:lnTo>
                <a:lnTo>
                  <a:pt x="0" y="2"/>
                </a:lnTo>
                <a:lnTo>
                  <a:pt x="0" y="0"/>
                </a:lnTo>
                <a:lnTo>
                  <a:pt x="0" y="0"/>
                </a:lnTo>
                <a:lnTo>
                  <a:pt x="1" y="0"/>
                </a:lnTo>
                <a:lnTo>
                  <a:pt x="1" y="0"/>
                </a:lnTo>
                <a:lnTo>
                  <a:pt x="1" y="0"/>
                </a:lnTo>
                <a:lnTo>
                  <a:pt x="1" y="0"/>
                </a:lnTo>
                <a:lnTo>
                  <a:pt x="1"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87" name="íS1íďê">
            <a:extLst>
              <a:ext uri="{FF2B5EF4-FFF2-40B4-BE49-F238E27FC236}">
                <a16:creationId xmlns:a16="http://schemas.microsoft.com/office/drawing/2014/main" id="{7CF8852E-786A-4538-A1EF-2AA7ED83602A}"/>
              </a:ext>
            </a:extLst>
          </p:cNvPr>
          <p:cNvSpPr/>
          <p:nvPr/>
        </p:nvSpPr>
        <p:spPr bwMode="auto">
          <a:xfrm>
            <a:off x="11674296" y="4516711"/>
            <a:ext cx="4434" cy="13303"/>
          </a:xfrm>
          <a:custGeom>
            <a:avLst/>
            <a:gdLst>
              <a:gd name="T0" fmla="*/ 0 w 1"/>
              <a:gd name="T1" fmla="*/ 3 h 3"/>
              <a:gd name="T2" fmla="*/ 0 w 1"/>
              <a:gd name="T3" fmla="*/ 1 h 3"/>
              <a:gd name="T4" fmla="*/ 0 w 1"/>
              <a:gd name="T5" fmla="*/ 0 h 3"/>
              <a:gd name="T6" fmla="*/ 1 w 1"/>
              <a:gd name="T7" fmla="*/ 1 h 3"/>
              <a:gd name="T8" fmla="*/ 1 w 1"/>
              <a:gd name="T9" fmla="*/ 3 h 3"/>
              <a:gd name="T10" fmla="*/ 0 w 1"/>
              <a:gd name="T11" fmla="*/ 3 h 3"/>
            </a:gdLst>
            <a:ahLst/>
            <a:cxnLst>
              <a:cxn ang="0">
                <a:pos x="T0" y="T1"/>
              </a:cxn>
              <a:cxn ang="0">
                <a:pos x="T2" y="T3"/>
              </a:cxn>
              <a:cxn ang="0">
                <a:pos x="T4" y="T5"/>
              </a:cxn>
              <a:cxn ang="0">
                <a:pos x="T6" y="T7"/>
              </a:cxn>
              <a:cxn ang="0">
                <a:pos x="T8" y="T9"/>
              </a:cxn>
              <a:cxn ang="0">
                <a:pos x="T10" y="T11"/>
              </a:cxn>
            </a:cxnLst>
            <a:rect l="0" t="0" r="r" b="b"/>
            <a:pathLst>
              <a:path w="1" h="3">
                <a:moveTo>
                  <a:pt x="0" y="3"/>
                </a:moveTo>
                <a:lnTo>
                  <a:pt x="0" y="1"/>
                </a:lnTo>
                <a:lnTo>
                  <a:pt x="0" y="0"/>
                </a:lnTo>
                <a:lnTo>
                  <a:pt x="1" y="1"/>
                </a:lnTo>
                <a:lnTo>
                  <a:pt x="1" y="3"/>
                </a:lnTo>
                <a:lnTo>
                  <a:pt x="0" y="3"/>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88" name="îṧḷíḍé">
            <a:extLst>
              <a:ext uri="{FF2B5EF4-FFF2-40B4-BE49-F238E27FC236}">
                <a16:creationId xmlns:a16="http://schemas.microsoft.com/office/drawing/2014/main" id="{3F3074D1-5E9B-4DA1-AB8F-89FD215F93E8}"/>
              </a:ext>
            </a:extLst>
          </p:cNvPr>
          <p:cNvSpPr/>
          <p:nvPr/>
        </p:nvSpPr>
        <p:spPr bwMode="auto">
          <a:xfrm>
            <a:off x="11692033" y="4516711"/>
            <a:ext cx="8868" cy="13303"/>
          </a:xfrm>
          <a:custGeom>
            <a:avLst/>
            <a:gdLst>
              <a:gd name="T0" fmla="*/ 2 w 2"/>
              <a:gd name="T1" fmla="*/ 3 h 3"/>
              <a:gd name="T2" fmla="*/ 0 w 2"/>
              <a:gd name="T3" fmla="*/ 1 h 3"/>
              <a:gd name="T4" fmla="*/ 0 w 2"/>
              <a:gd name="T5" fmla="*/ 0 h 3"/>
              <a:gd name="T6" fmla="*/ 2 w 2"/>
              <a:gd name="T7" fmla="*/ 0 h 3"/>
              <a:gd name="T8" fmla="*/ 2 w 2"/>
              <a:gd name="T9" fmla="*/ 1 h 3"/>
              <a:gd name="T10" fmla="*/ 2 w 2"/>
              <a:gd name="T11" fmla="*/ 3 h 3"/>
            </a:gdLst>
            <a:ahLst/>
            <a:cxnLst>
              <a:cxn ang="0">
                <a:pos x="T0" y="T1"/>
              </a:cxn>
              <a:cxn ang="0">
                <a:pos x="T2" y="T3"/>
              </a:cxn>
              <a:cxn ang="0">
                <a:pos x="T4" y="T5"/>
              </a:cxn>
              <a:cxn ang="0">
                <a:pos x="T6" y="T7"/>
              </a:cxn>
              <a:cxn ang="0">
                <a:pos x="T8" y="T9"/>
              </a:cxn>
              <a:cxn ang="0">
                <a:pos x="T10" y="T11"/>
              </a:cxn>
            </a:cxnLst>
            <a:rect l="0" t="0" r="r" b="b"/>
            <a:pathLst>
              <a:path w="2" h="3">
                <a:moveTo>
                  <a:pt x="2" y="3"/>
                </a:moveTo>
                <a:lnTo>
                  <a:pt x="0" y="1"/>
                </a:lnTo>
                <a:lnTo>
                  <a:pt x="0" y="0"/>
                </a:lnTo>
                <a:lnTo>
                  <a:pt x="2" y="0"/>
                </a:lnTo>
                <a:lnTo>
                  <a:pt x="2" y="1"/>
                </a:lnTo>
                <a:lnTo>
                  <a:pt x="2" y="3"/>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89" name="îsḷïḋe">
            <a:extLst>
              <a:ext uri="{FF2B5EF4-FFF2-40B4-BE49-F238E27FC236}">
                <a16:creationId xmlns:a16="http://schemas.microsoft.com/office/drawing/2014/main" id="{D559553F-6EF1-4C2E-8EBB-778C267B1850}"/>
              </a:ext>
            </a:extLst>
          </p:cNvPr>
          <p:cNvSpPr/>
          <p:nvPr/>
        </p:nvSpPr>
        <p:spPr bwMode="auto">
          <a:xfrm>
            <a:off x="11723073" y="4374815"/>
            <a:ext cx="8868" cy="8868"/>
          </a:xfrm>
          <a:custGeom>
            <a:avLst/>
            <a:gdLst>
              <a:gd name="T0" fmla="*/ 1 w 1"/>
              <a:gd name="T1" fmla="*/ 1 h 1"/>
              <a:gd name="T2" fmla="*/ 1 w 1"/>
              <a:gd name="T3" fmla="*/ 1 h 1"/>
              <a:gd name="T4" fmla="*/ 0 w 1"/>
              <a:gd name="T5" fmla="*/ 1 h 1"/>
              <a:gd name="T6" fmla="*/ 0 w 1"/>
              <a:gd name="T7" fmla="*/ 0 h 1"/>
              <a:gd name="T8" fmla="*/ 0 w 1"/>
              <a:gd name="T9" fmla="*/ 0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cubicBezTo>
                  <a:pt x="1" y="1"/>
                  <a:pt x="1" y="1"/>
                  <a:pt x="1" y="1"/>
                </a:cubicBezTo>
                <a:cubicBezTo>
                  <a:pt x="0" y="1"/>
                  <a:pt x="0" y="1"/>
                  <a:pt x="0" y="1"/>
                </a:cubicBezTo>
                <a:cubicBezTo>
                  <a:pt x="0" y="0"/>
                  <a:pt x="0" y="0"/>
                  <a:pt x="0" y="0"/>
                </a:cubicBezTo>
                <a:cubicBezTo>
                  <a:pt x="0" y="0"/>
                  <a:pt x="0" y="0"/>
                  <a:pt x="0" y="0"/>
                </a:cubicBezTo>
                <a:cubicBezTo>
                  <a:pt x="1" y="0"/>
                  <a:pt x="1" y="1"/>
                  <a:pt x="1" y="1"/>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90" name="îṣḻíḍe">
            <a:extLst>
              <a:ext uri="{FF2B5EF4-FFF2-40B4-BE49-F238E27FC236}">
                <a16:creationId xmlns:a16="http://schemas.microsoft.com/office/drawing/2014/main" id="{BC0CC298-65D8-4458-9B50-23CB4E37633D}"/>
              </a:ext>
            </a:extLst>
          </p:cNvPr>
          <p:cNvSpPr/>
          <p:nvPr/>
        </p:nvSpPr>
        <p:spPr bwMode="auto">
          <a:xfrm>
            <a:off x="11572310" y="4374816"/>
            <a:ext cx="4435" cy="8868"/>
          </a:xfrm>
          <a:custGeom>
            <a:avLst/>
            <a:gdLst>
              <a:gd name="T0" fmla="*/ 1 w 1"/>
              <a:gd name="T1" fmla="*/ 0 h 1"/>
              <a:gd name="T2" fmla="*/ 1 w 1"/>
              <a:gd name="T3" fmla="*/ 1 h 1"/>
              <a:gd name="T4" fmla="*/ 1 w 1"/>
              <a:gd name="T5" fmla="*/ 1 h 1"/>
              <a:gd name="T6" fmla="*/ 0 w 1"/>
              <a:gd name="T7" fmla="*/ 1 h 1"/>
              <a:gd name="T8" fmla="*/ 1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1"/>
                  <a:pt x="1" y="1"/>
                  <a:pt x="1" y="1"/>
                </a:cubicBezTo>
                <a:cubicBezTo>
                  <a:pt x="1" y="1"/>
                  <a:pt x="1" y="1"/>
                  <a:pt x="1" y="1"/>
                </a:cubicBezTo>
                <a:cubicBezTo>
                  <a:pt x="0" y="1"/>
                  <a:pt x="0" y="1"/>
                  <a:pt x="0" y="1"/>
                </a:cubicBezTo>
                <a:cubicBezTo>
                  <a:pt x="0" y="1"/>
                  <a:pt x="0" y="1"/>
                  <a:pt x="1" y="1"/>
                </a:cubicBezTo>
                <a:cubicBezTo>
                  <a:pt x="1" y="0"/>
                  <a:pt x="1" y="0"/>
                  <a:pt x="1" y="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91" name="ïŝľíḍè">
            <a:extLst>
              <a:ext uri="{FF2B5EF4-FFF2-40B4-BE49-F238E27FC236}">
                <a16:creationId xmlns:a16="http://schemas.microsoft.com/office/drawing/2014/main" id="{95002272-0B24-472E-B85B-8BEF8835F718}"/>
              </a:ext>
            </a:extLst>
          </p:cNvPr>
          <p:cNvSpPr/>
          <p:nvPr/>
        </p:nvSpPr>
        <p:spPr bwMode="auto">
          <a:xfrm>
            <a:off x="11616652" y="4494539"/>
            <a:ext cx="13304" cy="13304"/>
          </a:xfrm>
          <a:custGeom>
            <a:avLst/>
            <a:gdLst>
              <a:gd name="T0" fmla="*/ 0 w 3"/>
              <a:gd name="T1" fmla="*/ 0 h 3"/>
              <a:gd name="T2" fmla="*/ 0 w 3"/>
              <a:gd name="T3" fmla="*/ 0 h 3"/>
              <a:gd name="T4" fmla="*/ 1 w 3"/>
              <a:gd name="T5" fmla="*/ 0 h 3"/>
              <a:gd name="T6" fmla="*/ 3 w 3"/>
              <a:gd name="T7" fmla="*/ 0 h 3"/>
              <a:gd name="T8" fmla="*/ 1 w 3"/>
              <a:gd name="T9" fmla="*/ 1 h 3"/>
              <a:gd name="T10" fmla="*/ 1 w 3"/>
              <a:gd name="T11" fmla="*/ 1 h 3"/>
              <a:gd name="T12" fmla="*/ 1 w 3"/>
              <a:gd name="T13" fmla="*/ 3 h 3"/>
              <a:gd name="T14" fmla="*/ 1 w 3"/>
              <a:gd name="T15" fmla="*/ 3 h 3"/>
              <a:gd name="T16" fmla="*/ 1 w 3"/>
              <a:gd name="T17" fmla="*/ 3 h 3"/>
              <a:gd name="T18" fmla="*/ 0 w 3"/>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0"/>
                </a:moveTo>
                <a:lnTo>
                  <a:pt x="0" y="0"/>
                </a:lnTo>
                <a:lnTo>
                  <a:pt x="1" y="0"/>
                </a:lnTo>
                <a:lnTo>
                  <a:pt x="3" y="0"/>
                </a:lnTo>
                <a:lnTo>
                  <a:pt x="1" y="1"/>
                </a:lnTo>
                <a:lnTo>
                  <a:pt x="1" y="1"/>
                </a:lnTo>
                <a:lnTo>
                  <a:pt x="1" y="3"/>
                </a:lnTo>
                <a:lnTo>
                  <a:pt x="1" y="3"/>
                </a:lnTo>
                <a:lnTo>
                  <a:pt x="1" y="3"/>
                </a:lnTo>
                <a:lnTo>
                  <a:pt x="0"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92" name="í$ḻiḓê">
            <a:extLst>
              <a:ext uri="{FF2B5EF4-FFF2-40B4-BE49-F238E27FC236}">
                <a16:creationId xmlns:a16="http://schemas.microsoft.com/office/drawing/2014/main" id="{658660F4-5B6B-419F-A277-8F898BD1171D}"/>
              </a:ext>
            </a:extLst>
          </p:cNvPr>
          <p:cNvSpPr/>
          <p:nvPr/>
        </p:nvSpPr>
        <p:spPr bwMode="auto">
          <a:xfrm>
            <a:off x="11629954" y="4516712"/>
            <a:ext cx="4435" cy="13304"/>
          </a:xfrm>
          <a:custGeom>
            <a:avLst/>
            <a:gdLst>
              <a:gd name="T0" fmla="*/ 0 w 1"/>
              <a:gd name="T1" fmla="*/ 1 h 3"/>
              <a:gd name="T2" fmla="*/ 0 w 1"/>
              <a:gd name="T3" fmla="*/ 0 h 3"/>
              <a:gd name="T4" fmla="*/ 1 w 1"/>
              <a:gd name="T5" fmla="*/ 0 h 3"/>
              <a:gd name="T6" fmla="*/ 1 w 1"/>
              <a:gd name="T7" fmla="*/ 1 h 3"/>
              <a:gd name="T8" fmla="*/ 1 w 1"/>
              <a:gd name="T9" fmla="*/ 3 h 3"/>
              <a:gd name="T10" fmla="*/ 1 w 1"/>
              <a:gd name="T11" fmla="*/ 3 h 3"/>
              <a:gd name="T12" fmla="*/ 0 w 1"/>
              <a:gd name="T13" fmla="*/ 3 h 3"/>
              <a:gd name="T14" fmla="*/ 0 w 1"/>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3">
                <a:moveTo>
                  <a:pt x="0" y="1"/>
                </a:moveTo>
                <a:lnTo>
                  <a:pt x="0" y="0"/>
                </a:lnTo>
                <a:lnTo>
                  <a:pt x="1" y="0"/>
                </a:lnTo>
                <a:lnTo>
                  <a:pt x="1" y="1"/>
                </a:lnTo>
                <a:lnTo>
                  <a:pt x="1" y="3"/>
                </a:lnTo>
                <a:lnTo>
                  <a:pt x="1" y="3"/>
                </a:lnTo>
                <a:lnTo>
                  <a:pt x="0" y="3"/>
                </a:lnTo>
                <a:lnTo>
                  <a:pt x="0" y="1"/>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93" name="îślïďê">
            <a:extLst>
              <a:ext uri="{FF2B5EF4-FFF2-40B4-BE49-F238E27FC236}">
                <a16:creationId xmlns:a16="http://schemas.microsoft.com/office/drawing/2014/main" id="{00F56790-D529-4735-906C-BE39472D9346}"/>
              </a:ext>
            </a:extLst>
          </p:cNvPr>
          <p:cNvSpPr/>
          <p:nvPr/>
        </p:nvSpPr>
        <p:spPr bwMode="auto">
          <a:xfrm>
            <a:off x="11607784" y="4516712"/>
            <a:ext cx="8868" cy="13304"/>
          </a:xfrm>
          <a:custGeom>
            <a:avLst/>
            <a:gdLst>
              <a:gd name="T0" fmla="*/ 0 w 2"/>
              <a:gd name="T1" fmla="*/ 1 h 3"/>
              <a:gd name="T2" fmla="*/ 0 w 2"/>
              <a:gd name="T3" fmla="*/ 0 h 3"/>
              <a:gd name="T4" fmla="*/ 2 w 2"/>
              <a:gd name="T5" fmla="*/ 1 h 3"/>
              <a:gd name="T6" fmla="*/ 2 w 2"/>
              <a:gd name="T7" fmla="*/ 3 h 3"/>
              <a:gd name="T8" fmla="*/ 0 w 2"/>
              <a:gd name="T9" fmla="*/ 3 h 3"/>
              <a:gd name="T10" fmla="*/ 0 w 2"/>
              <a:gd name="T11" fmla="*/ 3 h 3"/>
              <a:gd name="T12" fmla="*/ 0 w 2"/>
              <a:gd name="T13" fmla="*/ 3 h 3"/>
              <a:gd name="T14" fmla="*/ 0 w 2"/>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1"/>
                </a:moveTo>
                <a:lnTo>
                  <a:pt x="0" y="0"/>
                </a:lnTo>
                <a:lnTo>
                  <a:pt x="2" y="1"/>
                </a:lnTo>
                <a:lnTo>
                  <a:pt x="2" y="3"/>
                </a:lnTo>
                <a:lnTo>
                  <a:pt x="0" y="3"/>
                </a:lnTo>
                <a:lnTo>
                  <a:pt x="0" y="3"/>
                </a:lnTo>
                <a:lnTo>
                  <a:pt x="0" y="3"/>
                </a:lnTo>
                <a:lnTo>
                  <a:pt x="0" y="1"/>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94" name="iṣḻíďé">
            <a:extLst>
              <a:ext uri="{FF2B5EF4-FFF2-40B4-BE49-F238E27FC236}">
                <a16:creationId xmlns:a16="http://schemas.microsoft.com/office/drawing/2014/main" id="{593FE6C0-11CD-4959-8946-556CE82B4740}"/>
              </a:ext>
            </a:extLst>
          </p:cNvPr>
          <p:cNvSpPr/>
          <p:nvPr/>
        </p:nvSpPr>
        <p:spPr bwMode="auto">
          <a:xfrm>
            <a:off x="11616652" y="4534449"/>
            <a:ext cx="13304" cy="17737"/>
          </a:xfrm>
          <a:custGeom>
            <a:avLst/>
            <a:gdLst>
              <a:gd name="T0" fmla="*/ 0 w 3"/>
              <a:gd name="T1" fmla="*/ 2 h 4"/>
              <a:gd name="T2" fmla="*/ 1 w 3"/>
              <a:gd name="T3" fmla="*/ 2 h 4"/>
              <a:gd name="T4" fmla="*/ 1 w 3"/>
              <a:gd name="T5" fmla="*/ 0 h 4"/>
              <a:gd name="T6" fmla="*/ 3 w 3"/>
              <a:gd name="T7" fmla="*/ 4 h 4"/>
              <a:gd name="T8" fmla="*/ 3 w 3"/>
              <a:gd name="T9" fmla="*/ 4 h 4"/>
              <a:gd name="T10" fmla="*/ 3 w 3"/>
              <a:gd name="T11" fmla="*/ 4 h 4"/>
              <a:gd name="T12" fmla="*/ 0 w 3"/>
              <a:gd name="T13" fmla="*/ 4 h 4"/>
              <a:gd name="T14" fmla="*/ 0 w 3"/>
              <a:gd name="T15" fmla="*/ 4 h 4"/>
              <a:gd name="T16" fmla="*/ 0 w 3"/>
              <a:gd name="T17" fmla="*/ 4 h 4"/>
              <a:gd name="T18" fmla="*/ 0 w 3"/>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0" y="2"/>
                </a:moveTo>
                <a:lnTo>
                  <a:pt x="1" y="2"/>
                </a:lnTo>
                <a:lnTo>
                  <a:pt x="1" y="0"/>
                </a:lnTo>
                <a:lnTo>
                  <a:pt x="3" y="4"/>
                </a:lnTo>
                <a:lnTo>
                  <a:pt x="3" y="4"/>
                </a:lnTo>
                <a:lnTo>
                  <a:pt x="3" y="4"/>
                </a:lnTo>
                <a:lnTo>
                  <a:pt x="0" y="4"/>
                </a:lnTo>
                <a:lnTo>
                  <a:pt x="0" y="4"/>
                </a:lnTo>
                <a:lnTo>
                  <a:pt x="0" y="4"/>
                </a:lnTo>
                <a:lnTo>
                  <a:pt x="0" y="2"/>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95" name="îšlïďé">
            <a:extLst>
              <a:ext uri="{FF2B5EF4-FFF2-40B4-BE49-F238E27FC236}">
                <a16:creationId xmlns:a16="http://schemas.microsoft.com/office/drawing/2014/main" id="{BE14EDEC-9BB9-44EA-ABBF-0AA3F0B04310}"/>
              </a:ext>
            </a:extLst>
          </p:cNvPr>
          <p:cNvSpPr/>
          <p:nvPr/>
        </p:nvSpPr>
        <p:spPr bwMode="auto">
          <a:xfrm>
            <a:off x="11616652" y="4565488"/>
            <a:ext cx="4435" cy="8868"/>
          </a:xfrm>
          <a:custGeom>
            <a:avLst/>
            <a:gdLst>
              <a:gd name="T0" fmla="*/ 0 w 1"/>
              <a:gd name="T1" fmla="*/ 0 h 2"/>
              <a:gd name="T2" fmla="*/ 1 w 1"/>
              <a:gd name="T3" fmla="*/ 0 h 2"/>
              <a:gd name="T4" fmla="*/ 1 w 1"/>
              <a:gd name="T5" fmla="*/ 0 h 2"/>
              <a:gd name="T6" fmla="*/ 1 w 1"/>
              <a:gd name="T7" fmla="*/ 2 h 2"/>
              <a:gd name="T8" fmla="*/ 1 w 1"/>
              <a:gd name="T9" fmla="*/ 2 h 2"/>
              <a:gd name="T10" fmla="*/ 0 w 1"/>
              <a:gd name="T11" fmla="*/ 2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lnTo>
                  <a:pt x="1" y="0"/>
                </a:lnTo>
                <a:lnTo>
                  <a:pt x="1" y="0"/>
                </a:lnTo>
                <a:lnTo>
                  <a:pt x="1" y="2"/>
                </a:lnTo>
                <a:lnTo>
                  <a:pt x="1" y="2"/>
                </a:lnTo>
                <a:lnTo>
                  <a:pt x="0" y="2"/>
                </a:lnTo>
                <a:lnTo>
                  <a:pt x="0"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96" name="îSḷïḍe">
            <a:extLst>
              <a:ext uri="{FF2B5EF4-FFF2-40B4-BE49-F238E27FC236}">
                <a16:creationId xmlns:a16="http://schemas.microsoft.com/office/drawing/2014/main" id="{7B7E61EE-CB41-4604-B449-DC178A97ECC4}"/>
              </a:ext>
            </a:extLst>
          </p:cNvPr>
          <p:cNvSpPr/>
          <p:nvPr/>
        </p:nvSpPr>
        <p:spPr bwMode="auto">
          <a:xfrm>
            <a:off x="11652126" y="4614265"/>
            <a:ext cx="4435" cy="17737"/>
          </a:xfrm>
          <a:custGeom>
            <a:avLst/>
            <a:gdLst>
              <a:gd name="T0" fmla="*/ 1 w 1"/>
              <a:gd name="T1" fmla="*/ 0 h 4"/>
              <a:gd name="T2" fmla="*/ 1 w 1"/>
              <a:gd name="T3" fmla="*/ 2 h 4"/>
              <a:gd name="T4" fmla="*/ 1 w 1"/>
              <a:gd name="T5" fmla="*/ 4 h 4"/>
              <a:gd name="T6" fmla="*/ 0 w 1"/>
              <a:gd name="T7" fmla="*/ 0 h 4"/>
              <a:gd name="T8" fmla="*/ 0 w 1"/>
              <a:gd name="T9" fmla="*/ 0 h 4"/>
              <a:gd name="T10" fmla="*/ 1 w 1"/>
              <a:gd name="T11" fmla="*/ 0 h 4"/>
            </a:gdLst>
            <a:ahLst/>
            <a:cxnLst>
              <a:cxn ang="0">
                <a:pos x="T0" y="T1"/>
              </a:cxn>
              <a:cxn ang="0">
                <a:pos x="T2" y="T3"/>
              </a:cxn>
              <a:cxn ang="0">
                <a:pos x="T4" y="T5"/>
              </a:cxn>
              <a:cxn ang="0">
                <a:pos x="T6" y="T7"/>
              </a:cxn>
              <a:cxn ang="0">
                <a:pos x="T8" y="T9"/>
              </a:cxn>
              <a:cxn ang="0">
                <a:pos x="T10" y="T11"/>
              </a:cxn>
            </a:cxnLst>
            <a:rect l="0" t="0" r="r" b="b"/>
            <a:pathLst>
              <a:path w="1" h="4">
                <a:moveTo>
                  <a:pt x="1" y="0"/>
                </a:moveTo>
                <a:lnTo>
                  <a:pt x="1" y="2"/>
                </a:lnTo>
                <a:lnTo>
                  <a:pt x="1" y="4"/>
                </a:lnTo>
                <a:lnTo>
                  <a:pt x="0" y="0"/>
                </a:lnTo>
                <a:lnTo>
                  <a:pt x="0" y="0"/>
                </a:lnTo>
                <a:lnTo>
                  <a:pt x="1"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97" name="î$ľíďe">
            <a:extLst>
              <a:ext uri="{FF2B5EF4-FFF2-40B4-BE49-F238E27FC236}">
                <a16:creationId xmlns:a16="http://schemas.microsoft.com/office/drawing/2014/main" id="{E44ECA6B-08F9-4EC6-8146-2F6F22A7A7E6}"/>
              </a:ext>
            </a:extLst>
          </p:cNvPr>
          <p:cNvSpPr/>
          <p:nvPr/>
        </p:nvSpPr>
        <p:spPr bwMode="auto">
          <a:xfrm>
            <a:off x="11607784" y="4578791"/>
            <a:ext cx="8868" cy="17737"/>
          </a:xfrm>
          <a:custGeom>
            <a:avLst/>
            <a:gdLst>
              <a:gd name="T0" fmla="*/ 0 w 2"/>
              <a:gd name="T1" fmla="*/ 2 h 4"/>
              <a:gd name="T2" fmla="*/ 0 w 2"/>
              <a:gd name="T3" fmla="*/ 2 h 4"/>
              <a:gd name="T4" fmla="*/ 0 w 2"/>
              <a:gd name="T5" fmla="*/ 0 h 4"/>
              <a:gd name="T6" fmla="*/ 2 w 2"/>
              <a:gd name="T7" fmla="*/ 2 h 4"/>
              <a:gd name="T8" fmla="*/ 0 w 2"/>
              <a:gd name="T9" fmla="*/ 2 h 4"/>
              <a:gd name="T10" fmla="*/ 0 w 2"/>
              <a:gd name="T11" fmla="*/ 2 h 4"/>
              <a:gd name="T12" fmla="*/ 0 w 2"/>
              <a:gd name="T13" fmla="*/ 2 h 4"/>
              <a:gd name="T14" fmla="*/ 0 w 2"/>
              <a:gd name="T15" fmla="*/ 4 h 4"/>
              <a:gd name="T16" fmla="*/ 0 w 2"/>
              <a:gd name="T17" fmla="*/ 2 h 4"/>
              <a:gd name="T18" fmla="*/ 0 w 2"/>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0" y="2"/>
                </a:moveTo>
                <a:lnTo>
                  <a:pt x="0" y="2"/>
                </a:lnTo>
                <a:lnTo>
                  <a:pt x="0" y="0"/>
                </a:lnTo>
                <a:lnTo>
                  <a:pt x="2" y="2"/>
                </a:lnTo>
                <a:lnTo>
                  <a:pt x="0" y="2"/>
                </a:lnTo>
                <a:lnTo>
                  <a:pt x="0" y="2"/>
                </a:lnTo>
                <a:lnTo>
                  <a:pt x="0" y="2"/>
                </a:lnTo>
                <a:lnTo>
                  <a:pt x="0" y="4"/>
                </a:lnTo>
                <a:lnTo>
                  <a:pt x="0" y="2"/>
                </a:lnTo>
                <a:lnTo>
                  <a:pt x="0" y="2"/>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98" name="ïṣliḋê">
            <a:extLst>
              <a:ext uri="{FF2B5EF4-FFF2-40B4-BE49-F238E27FC236}">
                <a16:creationId xmlns:a16="http://schemas.microsoft.com/office/drawing/2014/main" id="{D3F076F7-84D4-430F-8D36-F3106BAA89D1}"/>
              </a:ext>
            </a:extLst>
          </p:cNvPr>
          <p:cNvSpPr/>
          <p:nvPr/>
        </p:nvSpPr>
        <p:spPr bwMode="auto">
          <a:xfrm>
            <a:off x="11616652" y="4596528"/>
            <a:ext cx="13304" cy="4435"/>
          </a:xfrm>
          <a:custGeom>
            <a:avLst/>
            <a:gdLst>
              <a:gd name="T0" fmla="*/ 0 w 3"/>
              <a:gd name="T1" fmla="*/ 1 h 1"/>
              <a:gd name="T2" fmla="*/ 0 w 3"/>
              <a:gd name="T3" fmla="*/ 1 h 1"/>
              <a:gd name="T4" fmla="*/ 1 w 3"/>
              <a:gd name="T5" fmla="*/ 1 h 1"/>
              <a:gd name="T6" fmla="*/ 1 w 3"/>
              <a:gd name="T7" fmla="*/ 0 h 1"/>
              <a:gd name="T8" fmla="*/ 1 w 3"/>
              <a:gd name="T9" fmla="*/ 0 h 1"/>
              <a:gd name="T10" fmla="*/ 1 w 3"/>
              <a:gd name="T11" fmla="*/ 1 h 1"/>
              <a:gd name="T12" fmla="*/ 3 w 3"/>
              <a:gd name="T13" fmla="*/ 1 h 1"/>
              <a:gd name="T14" fmla="*/ 1 w 3"/>
              <a:gd name="T15" fmla="*/ 1 h 1"/>
              <a:gd name="T16" fmla="*/ 1 w 3"/>
              <a:gd name="T17" fmla="*/ 1 h 1"/>
              <a:gd name="T18" fmla="*/ 0 w 3"/>
              <a:gd name="T19" fmla="*/ 1 h 1"/>
              <a:gd name="T20" fmla="*/ 0 w 3"/>
              <a:gd name="T21" fmla="*/ 1 h 1"/>
              <a:gd name="T22" fmla="*/ 0 w 3"/>
              <a:gd name="T23" fmla="*/ 1 h 1"/>
              <a:gd name="T24" fmla="*/ 0 w 3"/>
              <a:gd name="T25" fmla="*/ 1 h 1"/>
              <a:gd name="T26" fmla="*/ 0 w 3"/>
              <a:gd name="T2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1">
                <a:moveTo>
                  <a:pt x="0" y="1"/>
                </a:moveTo>
                <a:lnTo>
                  <a:pt x="0" y="1"/>
                </a:lnTo>
                <a:lnTo>
                  <a:pt x="1" y="1"/>
                </a:lnTo>
                <a:lnTo>
                  <a:pt x="1" y="0"/>
                </a:lnTo>
                <a:lnTo>
                  <a:pt x="1" y="0"/>
                </a:lnTo>
                <a:lnTo>
                  <a:pt x="1" y="1"/>
                </a:lnTo>
                <a:lnTo>
                  <a:pt x="3" y="1"/>
                </a:lnTo>
                <a:lnTo>
                  <a:pt x="1" y="1"/>
                </a:lnTo>
                <a:lnTo>
                  <a:pt x="1" y="1"/>
                </a:lnTo>
                <a:lnTo>
                  <a:pt x="0" y="1"/>
                </a:lnTo>
                <a:lnTo>
                  <a:pt x="0" y="1"/>
                </a:lnTo>
                <a:lnTo>
                  <a:pt x="0" y="1"/>
                </a:lnTo>
                <a:lnTo>
                  <a:pt x="0" y="1"/>
                </a:lnTo>
                <a:lnTo>
                  <a:pt x="0" y="1"/>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299" name="ïṧḷidé">
            <a:extLst>
              <a:ext uri="{FF2B5EF4-FFF2-40B4-BE49-F238E27FC236}">
                <a16:creationId xmlns:a16="http://schemas.microsoft.com/office/drawing/2014/main" id="{2343EE6B-792C-4A1A-9CA3-642F1169B055}"/>
              </a:ext>
            </a:extLst>
          </p:cNvPr>
          <p:cNvSpPr/>
          <p:nvPr/>
        </p:nvSpPr>
        <p:spPr bwMode="auto">
          <a:xfrm>
            <a:off x="11607784" y="4614265"/>
            <a:ext cx="22173" cy="17737"/>
          </a:xfrm>
          <a:custGeom>
            <a:avLst/>
            <a:gdLst>
              <a:gd name="T0" fmla="*/ 0 w 5"/>
              <a:gd name="T1" fmla="*/ 0 h 4"/>
              <a:gd name="T2" fmla="*/ 2 w 5"/>
              <a:gd name="T3" fmla="*/ 0 h 4"/>
              <a:gd name="T4" fmla="*/ 2 w 5"/>
              <a:gd name="T5" fmla="*/ 0 h 4"/>
              <a:gd name="T6" fmla="*/ 5 w 5"/>
              <a:gd name="T7" fmla="*/ 0 h 4"/>
              <a:gd name="T8" fmla="*/ 5 w 5"/>
              <a:gd name="T9" fmla="*/ 0 h 4"/>
              <a:gd name="T10" fmla="*/ 3 w 5"/>
              <a:gd name="T11" fmla="*/ 2 h 4"/>
              <a:gd name="T12" fmla="*/ 3 w 5"/>
              <a:gd name="T13" fmla="*/ 2 h 4"/>
              <a:gd name="T14" fmla="*/ 3 w 5"/>
              <a:gd name="T15" fmla="*/ 4 h 4"/>
              <a:gd name="T16" fmla="*/ 3 w 5"/>
              <a:gd name="T17" fmla="*/ 4 h 4"/>
              <a:gd name="T18" fmla="*/ 2 w 5"/>
              <a:gd name="T19" fmla="*/ 2 h 4"/>
              <a:gd name="T20" fmla="*/ 0 w 5"/>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4">
                <a:moveTo>
                  <a:pt x="0" y="0"/>
                </a:moveTo>
                <a:lnTo>
                  <a:pt x="2" y="0"/>
                </a:lnTo>
                <a:lnTo>
                  <a:pt x="2" y="0"/>
                </a:lnTo>
                <a:lnTo>
                  <a:pt x="5" y="0"/>
                </a:lnTo>
                <a:lnTo>
                  <a:pt x="5" y="0"/>
                </a:lnTo>
                <a:lnTo>
                  <a:pt x="3" y="2"/>
                </a:lnTo>
                <a:lnTo>
                  <a:pt x="3" y="2"/>
                </a:lnTo>
                <a:lnTo>
                  <a:pt x="3" y="4"/>
                </a:lnTo>
                <a:lnTo>
                  <a:pt x="3" y="4"/>
                </a:lnTo>
                <a:lnTo>
                  <a:pt x="2" y="2"/>
                </a:lnTo>
                <a:lnTo>
                  <a:pt x="0"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300" name="íṣḷîḓé">
            <a:extLst>
              <a:ext uri="{FF2B5EF4-FFF2-40B4-BE49-F238E27FC236}">
                <a16:creationId xmlns:a16="http://schemas.microsoft.com/office/drawing/2014/main" id="{628F1D1F-6E90-40E1-A0AF-EA77B37E411A}"/>
              </a:ext>
            </a:extLst>
          </p:cNvPr>
          <p:cNvSpPr/>
          <p:nvPr/>
        </p:nvSpPr>
        <p:spPr bwMode="auto">
          <a:xfrm>
            <a:off x="11607784" y="4658609"/>
            <a:ext cx="22173" cy="17737"/>
          </a:xfrm>
          <a:custGeom>
            <a:avLst/>
            <a:gdLst>
              <a:gd name="T0" fmla="*/ 0 w 5"/>
              <a:gd name="T1" fmla="*/ 4 h 4"/>
              <a:gd name="T2" fmla="*/ 2 w 5"/>
              <a:gd name="T3" fmla="*/ 2 h 4"/>
              <a:gd name="T4" fmla="*/ 2 w 5"/>
              <a:gd name="T5" fmla="*/ 2 h 4"/>
              <a:gd name="T6" fmla="*/ 3 w 5"/>
              <a:gd name="T7" fmla="*/ 0 h 4"/>
              <a:gd name="T8" fmla="*/ 3 w 5"/>
              <a:gd name="T9" fmla="*/ 0 h 4"/>
              <a:gd name="T10" fmla="*/ 3 w 5"/>
              <a:gd name="T11" fmla="*/ 0 h 4"/>
              <a:gd name="T12" fmla="*/ 5 w 5"/>
              <a:gd name="T13" fmla="*/ 4 h 4"/>
              <a:gd name="T14" fmla="*/ 5 w 5"/>
              <a:gd name="T15" fmla="*/ 4 h 4"/>
              <a:gd name="T16" fmla="*/ 3 w 5"/>
              <a:gd name="T17" fmla="*/ 4 h 4"/>
              <a:gd name="T18" fmla="*/ 2 w 5"/>
              <a:gd name="T19" fmla="*/ 4 h 4"/>
              <a:gd name="T20" fmla="*/ 0 w 5"/>
              <a:gd name="T21" fmla="*/ 4 h 4"/>
              <a:gd name="T22" fmla="*/ 0 w 5"/>
              <a:gd name="T23" fmla="*/ 4 h 4"/>
              <a:gd name="T24" fmla="*/ 0 w 5"/>
              <a:gd name="T25" fmla="*/ 4 h 4"/>
              <a:gd name="T26" fmla="*/ 0 w 5"/>
              <a:gd name="T2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4">
                <a:moveTo>
                  <a:pt x="0" y="4"/>
                </a:moveTo>
                <a:lnTo>
                  <a:pt x="2" y="2"/>
                </a:lnTo>
                <a:lnTo>
                  <a:pt x="2" y="2"/>
                </a:lnTo>
                <a:lnTo>
                  <a:pt x="3" y="0"/>
                </a:lnTo>
                <a:lnTo>
                  <a:pt x="3" y="0"/>
                </a:lnTo>
                <a:lnTo>
                  <a:pt x="3" y="0"/>
                </a:lnTo>
                <a:lnTo>
                  <a:pt x="5" y="4"/>
                </a:lnTo>
                <a:lnTo>
                  <a:pt x="5" y="4"/>
                </a:lnTo>
                <a:lnTo>
                  <a:pt x="3" y="4"/>
                </a:lnTo>
                <a:lnTo>
                  <a:pt x="2" y="4"/>
                </a:lnTo>
                <a:lnTo>
                  <a:pt x="0" y="4"/>
                </a:lnTo>
                <a:lnTo>
                  <a:pt x="0" y="4"/>
                </a:lnTo>
                <a:lnTo>
                  <a:pt x="0" y="4"/>
                </a:lnTo>
                <a:lnTo>
                  <a:pt x="0" y="4"/>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301" name="iṩliḍé">
            <a:extLst>
              <a:ext uri="{FF2B5EF4-FFF2-40B4-BE49-F238E27FC236}">
                <a16:creationId xmlns:a16="http://schemas.microsoft.com/office/drawing/2014/main" id="{5E117EA1-BD19-4A2B-895F-5EFB885A3CE7}"/>
              </a:ext>
            </a:extLst>
          </p:cNvPr>
          <p:cNvSpPr/>
          <p:nvPr/>
        </p:nvSpPr>
        <p:spPr bwMode="auto">
          <a:xfrm>
            <a:off x="11607784" y="4733990"/>
            <a:ext cx="22173" cy="13304"/>
          </a:xfrm>
          <a:custGeom>
            <a:avLst/>
            <a:gdLst>
              <a:gd name="T0" fmla="*/ 2 w 5"/>
              <a:gd name="T1" fmla="*/ 1 h 3"/>
              <a:gd name="T2" fmla="*/ 2 w 5"/>
              <a:gd name="T3" fmla="*/ 0 h 3"/>
              <a:gd name="T4" fmla="*/ 2 w 5"/>
              <a:gd name="T5" fmla="*/ 0 h 3"/>
              <a:gd name="T6" fmla="*/ 2 w 5"/>
              <a:gd name="T7" fmla="*/ 0 h 3"/>
              <a:gd name="T8" fmla="*/ 3 w 5"/>
              <a:gd name="T9" fmla="*/ 0 h 3"/>
              <a:gd name="T10" fmla="*/ 5 w 5"/>
              <a:gd name="T11" fmla="*/ 3 h 3"/>
              <a:gd name="T12" fmla="*/ 5 w 5"/>
              <a:gd name="T13" fmla="*/ 3 h 3"/>
              <a:gd name="T14" fmla="*/ 3 w 5"/>
              <a:gd name="T15" fmla="*/ 3 h 3"/>
              <a:gd name="T16" fmla="*/ 0 w 5"/>
              <a:gd name="T17" fmla="*/ 3 h 3"/>
              <a:gd name="T18" fmla="*/ 0 w 5"/>
              <a:gd name="T19" fmla="*/ 3 h 3"/>
              <a:gd name="T20" fmla="*/ 0 w 5"/>
              <a:gd name="T21" fmla="*/ 3 h 3"/>
              <a:gd name="T22" fmla="*/ 2 w 5"/>
              <a:gd name="T2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2" y="1"/>
                </a:moveTo>
                <a:lnTo>
                  <a:pt x="2" y="0"/>
                </a:lnTo>
                <a:lnTo>
                  <a:pt x="2" y="0"/>
                </a:lnTo>
                <a:lnTo>
                  <a:pt x="2" y="0"/>
                </a:lnTo>
                <a:lnTo>
                  <a:pt x="3" y="0"/>
                </a:lnTo>
                <a:lnTo>
                  <a:pt x="5" y="3"/>
                </a:lnTo>
                <a:lnTo>
                  <a:pt x="5" y="3"/>
                </a:lnTo>
                <a:lnTo>
                  <a:pt x="3" y="3"/>
                </a:lnTo>
                <a:lnTo>
                  <a:pt x="0" y="3"/>
                </a:lnTo>
                <a:lnTo>
                  <a:pt x="0" y="3"/>
                </a:lnTo>
                <a:lnTo>
                  <a:pt x="0" y="3"/>
                </a:lnTo>
                <a:lnTo>
                  <a:pt x="2" y="1"/>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302" name="iṣḻïḋé">
            <a:extLst>
              <a:ext uri="{FF2B5EF4-FFF2-40B4-BE49-F238E27FC236}">
                <a16:creationId xmlns:a16="http://schemas.microsoft.com/office/drawing/2014/main" id="{B24E6060-84FC-4809-B96C-769E74E73726}"/>
              </a:ext>
            </a:extLst>
          </p:cNvPr>
          <p:cNvSpPr/>
          <p:nvPr/>
        </p:nvSpPr>
        <p:spPr bwMode="auto">
          <a:xfrm>
            <a:off x="11607784" y="4760595"/>
            <a:ext cx="22173" cy="13304"/>
          </a:xfrm>
          <a:custGeom>
            <a:avLst/>
            <a:gdLst>
              <a:gd name="T0" fmla="*/ 0 w 5"/>
              <a:gd name="T1" fmla="*/ 0 h 3"/>
              <a:gd name="T2" fmla="*/ 2 w 5"/>
              <a:gd name="T3" fmla="*/ 0 h 3"/>
              <a:gd name="T4" fmla="*/ 3 w 5"/>
              <a:gd name="T5" fmla="*/ 0 h 3"/>
              <a:gd name="T6" fmla="*/ 3 w 5"/>
              <a:gd name="T7" fmla="*/ 0 h 3"/>
              <a:gd name="T8" fmla="*/ 5 w 5"/>
              <a:gd name="T9" fmla="*/ 0 h 3"/>
              <a:gd name="T10" fmla="*/ 3 w 5"/>
              <a:gd name="T11" fmla="*/ 0 h 3"/>
              <a:gd name="T12" fmla="*/ 3 w 5"/>
              <a:gd name="T13" fmla="*/ 0 h 3"/>
              <a:gd name="T14" fmla="*/ 3 w 5"/>
              <a:gd name="T15" fmla="*/ 2 h 3"/>
              <a:gd name="T16" fmla="*/ 2 w 5"/>
              <a:gd name="T17" fmla="*/ 3 h 3"/>
              <a:gd name="T18" fmla="*/ 2 w 5"/>
              <a:gd name="T19" fmla="*/ 3 h 3"/>
              <a:gd name="T20" fmla="*/ 0 w 5"/>
              <a:gd name="T21" fmla="*/ 2 h 3"/>
              <a:gd name="T22" fmla="*/ 0 w 5"/>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0" y="0"/>
                </a:moveTo>
                <a:lnTo>
                  <a:pt x="2" y="0"/>
                </a:lnTo>
                <a:lnTo>
                  <a:pt x="3" y="0"/>
                </a:lnTo>
                <a:lnTo>
                  <a:pt x="3" y="0"/>
                </a:lnTo>
                <a:lnTo>
                  <a:pt x="5" y="0"/>
                </a:lnTo>
                <a:lnTo>
                  <a:pt x="3" y="0"/>
                </a:lnTo>
                <a:lnTo>
                  <a:pt x="3" y="0"/>
                </a:lnTo>
                <a:lnTo>
                  <a:pt x="3" y="2"/>
                </a:lnTo>
                <a:lnTo>
                  <a:pt x="2" y="3"/>
                </a:lnTo>
                <a:lnTo>
                  <a:pt x="2" y="3"/>
                </a:lnTo>
                <a:lnTo>
                  <a:pt x="0" y="2"/>
                </a:lnTo>
                <a:lnTo>
                  <a:pt x="0"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303" name="íšḷîḍè">
            <a:extLst>
              <a:ext uri="{FF2B5EF4-FFF2-40B4-BE49-F238E27FC236}">
                <a16:creationId xmlns:a16="http://schemas.microsoft.com/office/drawing/2014/main" id="{68FCC1F6-BE2C-4F42-95B9-934855B2F28F}"/>
              </a:ext>
            </a:extLst>
          </p:cNvPr>
          <p:cNvSpPr/>
          <p:nvPr/>
        </p:nvSpPr>
        <p:spPr bwMode="auto">
          <a:xfrm>
            <a:off x="11621086" y="4773899"/>
            <a:ext cx="13304" cy="22173"/>
          </a:xfrm>
          <a:custGeom>
            <a:avLst/>
            <a:gdLst>
              <a:gd name="T0" fmla="*/ 0 w 3"/>
              <a:gd name="T1" fmla="*/ 4 h 5"/>
              <a:gd name="T2" fmla="*/ 2 w 3"/>
              <a:gd name="T3" fmla="*/ 2 h 5"/>
              <a:gd name="T4" fmla="*/ 2 w 3"/>
              <a:gd name="T5" fmla="*/ 0 h 5"/>
              <a:gd name="T6" fmla="*/ 3 w 3"/>
              <a:gd name="T7" fmla="*/ 0 h 5"/>
              <a:gd name="T8" fmla="*/ 3 w 3"/>
              <a:gd name="T9" fmla="*/ 0 h 5"/>
              <a:gd name="T10" fmla="*/ 3 w 3"/>
              <a:gd name="T11" fmla="*/ 4 h 5"/>
              <a:gd name="T12" fmla="*/ 3 w 3"/>
              <a:gd name="T13" fmla="*/ 5 h 5"/>
              <a:gd name="T14" fmla="*/ 3 w 3"/>
              <a:gd name="T15" fmla="*/ 5 h 5"/>
              <a:gd name="T16" fmla="*/ 2 w 3"/>
              <a:gd name="T17" fmla="*/ 5 h 5"/>
              <a:gd name="T18" fmla="*/ 0 w 3"/>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5">
                <a:moveTo>
                  <a:pt x="0" y="4"/>
                </a:moveTo>
                <a:lnTo>
                  <a:pt x="2" y="2"/>
                </a:lnTo>
                <a:lnTo>
                  <a:pt x="2" y="0"/>
                </a:lnTo>
                <a:lnTo>
                  <a:pt x="3" y="0"/>
                </a:lnTo>
                <a:lnTo>
                  <a:pt x="3" y="0"/>
                </a:lnTo>
                <a:lnTo>
                  <a:pt x="3" y="4"/>
                </a:lnTo>
                <a:lnTo>
                  <a:pt x="3" y="5"/>
                </a:lnTo>
                <a:lnTo>
                  <a:pt x="3" y="5"/>
                </a:lnTo>
                <a:lnTo>
                  <a:pt x="2" y="5"/>
                </a:lnTo>
                <a:lnTo>
                  <a:pt x="0" y="4"/>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304" name="íṩļíde">
            <a:extLst>
              <a:ext uri="{FF2B5EF4-FFF2-40B4-BE49-F238E27FC236}">
                <a16:creationId xmlns:a16="http://schemas.microsoft.com/office/drawing/2014/main" id="{4277B2EB-12DB-4162-B83F-2C22E2EEAD62}"/>
              </a:ext>
            </a:extLst>
          </p:cNvPr>
          <p:cNvSpPr/>
          <p:nvPr/>
        </p:nvSpPr>
        <p:spPr bwMode="auto">
          <a:xfrm>
            <a:off x="11621086" y="4840411"/>
            <a:ext cx="13304" cy="31042"/>
          </a:xfrm>
          <a:custGeom>
            <a:avLst/>
            <a:gdLst>
              <a:gd name="T0" fmla="*/ 0 w 3"/>
              <a:gd name="T1" fmla="*/ 3 h 7"/>
              <a:gd name="T2" fmla="*/ 2 w 3"/>
              <a:gd name="T3" fmla="*/ 3 h 7"/>
              <a:gd name="T4" fmla="*/ 2 w 3"/>
              <a:gd name="T5" fmla="*/ 2 h 7"/>
              <a:gd name="T6" fmla="*/ 3 w 3"/>
              <a:gd name="T7" fmla="*/ 0 h 7"/>
              <a:gd name="T8" fmla="*/ 3 w 3"/>
              <a:gd name="T9" fmla="*/ 2 h 7"/>
              <a:gd name="T10" fmla="*/ 3 w 3"/>
              <a:gd name="T11" fmla="*/ 3 h 7"/>
              <a:gd name="T12" fmla="*/ 3 w 3"/>
              <a:gd name="T13" fmla="*/ 7 h 7"/>
              <a:gd name="T14" fmla="*/ 3 w 3"/>
              <a:gd name="T15" fmla="*/ 7 h 7"/>
              <a:gd name="T16" fmla="*/ 0 w 3"/>
              <a:gd name="T17" fmla="*/ 5 h 7"/>
              <a:gd name="T18" fmla="*/ 0 w 3"/>
              <a:gd name="T19"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0" y="3"/>
                </a:moveTo>
                <a:lnTo>
                  <a:pt x="2" y="3"/>
                </a:lnTo>
                <a:lnTo>
                  <a:pt x="2" y="2"/>
                </a:lnTo>
                <a:lnTo>
                  <a:pt x="3" y="0"/>
                </a:lnTo>
                <a:lnTo>
                  <a:pt x="3" y="2"/>
                </a:lnTo>
                <a:lnTo>
                  <a:pt x="3" y="3"/>
                </a:lnTo>
                <a:lnTo>
                  <a:pt x="3" y="7"/>
                </a:lnTo>
                <a:lnTo>
                  <a:pt x="3" y="7"/>
                </a:lnTo>
                <a:lnTo>
                  <a:pt x="0" y="5"/>
                </a:lnTo>
                <a:lnTo>
                  <a:pt x="0" y="3"/>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305" name="ïṣḻiḑê">
            <a:extLst>
              <a:ext uri="{FF2B5EF4-FFF2-40B4-BE49-F238E27FC236}">
                <a16:creationId xmlns:a16="http://schemas.microsoft.com/office/drawing/2014/main" id="{7E0E97C3-B403-4A12-9A5F-6086560D9F2F}"/>
              </a:ext>
            </a:extLst>
          </p:cNvPr>
          <p:cNvSpPr/>
          <p:nvPr/>
        </p:nvSpPr>
        <p:spPr bwMode="auto">
          <a:xfrm>
            <a:off x="11621086" y="4911360"/>
            <a:ext cx="13304" cy="39910"/>
          </a:xfrm>
          <a:custGeom>
            <a:avLst/>
            <a:gdLst>
              <a:gd name="T0" fmla="*/ 0 w 3"/>
              <a:gd name="T1" fmla="*/ 4 h 9"/>
              <a:gd name="T2" fmla="*/ 2 w 3"/>
              <a:gd name="T3" fmla="*/ 4 h 9"/>
              <a:gd name="T4" fmla="*/ 2 w 3"/>
              <a:gd name="T5" fmla="*/ 2 h 9"/>
              <a:gd name="T6" fmla="*/ 3 w 3"/>
              <a:gd name="T7" fmla="*/ 0 h 9"/>
              <a:gd name="T8" fmla="*/ 3 w 3"/>
              <a:gd name="T9" fmla="*/ 2 h 9"/>
              <a:gd name="T10" fmla="*/ 3 w 3"/>
              <a:gd name="T11" fmla="*/ 4 h 9"/>
              <a:gd name="T12" fmla="*/ 3 w 3"/>
              <a:gd name="T13" fmla="*/ 7 h 9"/>
              <a:gd name="T14" fmla="*/ 3 w 3"/>
              <a:gd name="T15" fmla="*/ 9 h 9"/>
              <a:gd name="T16" fmla="*/ 0 w 3"/>
              <a:gd name="T17" fmla="*/ 5 h 9"/>
              <a:gd name="T18" fmla="*/ 0 w 3"/>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9">
                <a:moveTo>
                  <a:pt x="0" y="4"/>
                </a:moveTo>
                <a:lnTo>
                  <a:pt x="2" y="4"/>
                </a:lnTo>
                <a:lnTo>
                  <a:pt x="2" y="2"/>
                </a:lnTo>
                <a:lnTo>
                  <a:pt x="3" y="0"/>
                </a:lnTo>
                <a:lnTo>
                  <a:pt x="3" y="2"/>
                </a:lnTo>
                <a:lnTo>
                  <a:pt x="3" y="4"/>
                </a:lnTo>
                <a:lnTo>
                  <a:pt x="3" y="7"/>
                </a:lnTo>
                <a:lnTo>
                  <a:pt x="3" y="9"/>
                </a:lnTo>
                <a:lnTo>
                  <a:pt x="0" y="5"/>
                </a:lnTo>
                <a:lnTo>
                  <a:pt x="0" y="4"/>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306" name="íšľïḋè">
            <a:extLst>
              <a:ext uri="{FF2B5EF4-FFF2-40B4-BE49-F238E27FC236}">
                <a16:creationId xmlns:a16="http://schemas.microsoft.com/office/drawing/2014/main" id="{8725A95E-1F7D-4DBB-9344-34488C07311D}"/>
              </a:ext>
            </a:extLst>
          </p:cNvPr>
          <p:cNvSpPr/>
          <p:nvPr/>
        </p:nvSpPr>
        <p:spPr bwMode="auto">
          <a:xfrm>
            <a:off x="11621086" y="4991176"/>
            <a:ext cx="13304" cy="39910"/>
          </a:xfrm>
          <a:custGeom>
            <a:avLst/>
            <a:gdLst>
              <a:gd name="T0" fmla="*/ 0 w 3"/>
              <a:gd name="T1" fmla="*/ 4 h 9"/>
              <a:gd name="T2" fmla="*/ 0 w 3"/>
              <a:gd name="T3" fmla="*/ 2 h 9"/>
              <a:gd name="T4" fmla="*/ 2 w 3"/>
              <a:gd name="T5" fmla="*/ 0 h 9"/>
              <a:gd name="T6" fmla="*/ 3 w 3"/>
              <a:gd name="T7" fmla="*/ 0 h 9"/>
              <a:gd name="T8" fmla="*/ 3 w 3"/>
              <a:gd name="T9" fmla="*/ 0 h 9"/>
              <a:gd name="T10" fmla="*/ 3 w 3"/>
              <a:gd name="T11" fmla="*/ 4 h 9"/>
              <a:gd name="T12" fmla="*/ 3 w 3"/>
              <a:gd name="T13" fmla="*/ 7 h 9"/>
              <a:gd name="T14" fmla="*/ 3 w 3"/>
              <a:gd name="T15" fmla="*/ 9 h 9"/>
              <a:gd name="T16" fmla="*/ 0 w 3"/>
              <a:gd name="T17" fmla="*/ 5 h 9"/>
              <a:gd name="T18" fmla="*/ 0 w 3"/>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9">
                <a:moveTo>
                  <a:pt x="0" y="4"/>
                </a:moveTo>
                <a:lnTo>
                  <a:pt x="0" y="2"/>
                </a:lnTo>
                <a:lnTo>
                  <a:pt x="2" y="0"/>
                </a:lnTo>
                <a:lnTo>
                  <a:pt x="3" y="0"/>
                </a:lnTo>
                <a:lnTo>
                  <a:pt x="3" y="0"/>
                </a:lnTo>
                <a:lnTo>
                  <a:pt x="3" y="4"/>
                </a:lnTo>
                <a:lnTo>
                  <a:pt x="3" y="7"/>
                </a:lnTo>
                <a:lnTo>
                  <a:pt x="3" y="9"/>
                </a:lnTo>
                <a:lnTo>
                  <a:pt x="0" y="5"/>
                </a:lnTo>
                <a:lnTo>
                  <a:pt x="0" y="4"/>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307" name="ïṣlîdé">
            <a:extLst>
              <a:ext uri="{FF2B5EF4-FFF2-40B4-BE49-F238E27FC236}">
                <a16:creationId xmlns:a16="http://schemas.microsoft.com/office/drawing/2014/main" id="{DE27A63E-BCA7-4E5C-856B-53EAC2A63B9E}"/>
              </a:ext>
            </a:extLst>
          </p:cNvPr>
          <p:cNvSpPr/>
          <p:nvPr/>
        </p:nvSpPr>
        <p:spPr bwMode="auto">
          <a:xfrm>
            <a:off x="11621086" y="5066560"/>
            <a:ext cx="8868" cy="26605"/>
          </a:xfrm>
          <a:custGeom>
            <a:avLst/>
            <a:gdLst>
              <a:gd name="T0" fmla="*/ 0 w 2"/>
              <a:gd name="T1" fmla="*/ 1 h 6"/>
              <a:gd name="T2" fmla="*/ 2 w 2"/>
              <a:gd name="T3" fmla="*/ 0 h 6"/>
              <a:gd name="T4" fmla="*/ 2 w 2"/>
              <a:gd name="T5" fmla="*/ 0 h 6"/>
              <a:gd name="T6" fmla="*/ 2 w 2"/>
              <a:gd name="T7" fmla="*/ 0 h 6"/>
              <a:gd name="T8" fmla="*/ 2 w 2"/>
              <a:gd name="T9" fmla="*/ 5 h 6"/>
              <a:gd name="T10" fmla="*/ 2 w 2"/>
              <a:gd name="T11" fmla="*/ 6 h 6"/>
              <a:gd name="T12" fmla="*/ 2 w 2"/>
              <a:gd name="T13" fmla="*/ 6 h 6"/>
              <a:gd name="T14" fmla="*/ 0 w 2"/>
              <a:gd name="T15" fmla="*/ 3 h 6"/>
              <a:gd name="T16" fmla="*/ 0 w 2"/>
              <a:gd name="T17" fmla="*/ 3 h 6"/>
              <a:gd name="T18" fmla="*/ 0 w 2"/>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6">
                <a:moveTo>
                  <a:pt x="0" y="1"/>
                </a:moveTo>
                <a:lnTo>
                  <a:pt x="2" y="0"/>
                </a:lnTo>
                <a:lnTo>
                  <a:pt x="2" y="0"/>
                </a:lnTo>
                <a:lnTo>
                  <a:pt x="2" y="0"/>
                </a:lnTo>
                <a:lnTo>
                  <a:pt x="2" y="5"/>
                </a:lnTo>
                <a:lnTo>
                  <a:pt x="2" y="6"/>
                </a:lnTo>
                <a:lnTo>
                  <a:pt x="2" y="6"/>
                </a:lnTo>
                <a:lnTo>
                  <a:pt x="0" y="3"/>
                </a:lnTo>
                <a:lnTo>
                  <a:pt x="0" y="3"/>
                </a:lnTo>
                <a:lnTo>
                  <a:pt x="0" y="1"/>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308" name="išļiḑè">
            <a:extLst>
              <a:ext uri="{FF2B5EF4-FFF2-40B4-BE49-F238E27FC236}">
                <a16:creationId xmlns:a16="http://schemas.microsoft.com/office/drawing/2014/main" id="{C2CCE63E-771C-4412-BFE9-78DB89E37B70}"/>
              </a:ext>
            </a:extLst>
          </p:cNvPr>
          <p:cNvSpPr/>
          <p:nvPr/>
        </p:nvSpPr>
        <p:spPr bwMode="auto">
          <a:xfrm>
            <a:off x="11652126" y="5181851"/>
            <a:ext cx="22173" cy="8868"/>
          </a:xfrm>
          <a:custGeom>
            <a:avLst/>
            <a:gdLst>
              <a:gd name="T0" fmla="*/ 0 w 5"/>
              <a:gd name="T1" fmla="*/ 0 h 2"/>
              <a:gd name="T2" fmla="*/ 3 w 5"/>
              <a:gd name="T3" fmla="*/ 0 h 2"/>
              <a:gd name="T4" fmla="*/ 5 w 5"/>
              <a:gd name="T5" fmla="*/ 0 h 2"/>
              <a:gd name="T6" fmla="*/ 5 w 5"/>
              <a:gd name="T7" fmla="*/ 0 h 2"/>
              <a:gd name="T8" fmla="*/ 5 w 5"/>
              <a:gd name="T9" fmla="*/ 0 h 2"/>
              <a:gd name="T10" fmla="*/ 5 w 5"/>
              <a:gd name="T11" fmla="*/ 0 h 2"/>
              <a:gd name="T12" fmla="*/ 3 w 5"/>
              <a:gd name="T13" fmla="*/ 2 h 2"/>
              <a:gd name="T14" fmla="*/ 3 w 5"/>
              <a:gd name="T15" fmla="*/ 2 h 2"/>
              <a:gd name="T16" fmla="*/ 1 w 5"/>
              <a:gd name="T17" fmla="*/ 0 h 2"/>
              <a:gd name="T18" fmla="*/ 0 w 5"/>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2">
                <a:moveTo>
                  <a:pt x="0" y="0"/>
                </a:moveTo>
                <a:lnTo>
                  <a:pt x="3" y="0"/>
                </a:lnTo>
                <a:lnTo>
                  <a:pt x="5" y="0"/>
                </a:lnTo>
                <a:lnTo>
                  <a:pt x="5" y="0"/>
                </a:lnTo>
                <a:lnTo>
                  <a:pt x="5" y="0"/>
                </a:lnTo>
                <a:lnTo>
                  <a:pt x="5" y="0"/>
                </a:lnTo>
                <a:lnTo>
                  <a:pt x="3" y="2"/>
                </a:lnTo>
                <a:lnTo>
                  <a:pt x="3" y="2"/>
                </a:lnTo>
                <a:lnTo>
                  <a:pt x="1" y="0"/>
                </a:lnTo>
                <a:lnTo>
                  <a:pt x="0"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309" name="ïṥ1íḍè">
            <a:extLst>
              <a:ext uri="{FF2B5EF4-FFF2-40B4-BE49-F238E27FC236}">
                <a16:creationId xmlns:a16="http://schemas.microsoft.com/office/drawing/2014/main" id="{604C80CC-D8E4-4093-9EC3-E39D908430DE}"/>
              </a:ext>
            </a:extLst>
          </p:cNvPr>
          <p:cNvSpPr/>
          <p:nvPr/>
        </p:nvSpPr>
        <p:spPr bwMode="auto">
          <a:xfrm>
            <a:off x="11607784" y="5501117"/>
            <a:ext cx="22173" cy="44342"/>
          </a:xfrm>
          <a:custGeom>
            <a:avLst/>
            <a:gdLst>
              <a:gd name="T0" fmla="*/ 0 w 5"/>
              <a:gd name="T1" fmla="*/ 5 h 10"/>
              <a:gd name="T2" fmla="*/ 2 w 5"/>
              <a:gd name="T3" fmla="*/ 2 h 10"/>
              <a:gd name="T4" fmla="*/ 5 w 5"/>
              <a:gd name="T5" fmla="*/ 0 h 10"/>
              <a:gd name="T6" fmla="*/ 5 w 5"/>
              <a:gd name="T7" fmla="*/ 0 h 10"/>
              <a:gd name="T8" fmla="*/ 5 w 5"/>
              <a:gd name="T9" fmla="*/ 0 h 10"/>
              <a:gd name="T10" fmla="*/ 5 w 5"/>
              <a:gd name="T11" fmla="*/ 5 h 10"/>
              <a:gd name="T12" fmla="*/ 5 w 5"/>
              <a:gd name="T13" fmla="*/ 10 h 10"/>
              <a:gd name="T14" fmla="*/ 5 w 5"/>
              <a:gd name="T15" fmla="*/ 10 h 10"/>
              <a:gd name="T16" fmla="*/ 2 w 5"/>
              <a:gd name="T17" fmla="*/ 8 h 10"/>
              <a:gd name="T18" fmla="*/ 0 w 5"/>
              <a:gd name="T19"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0">
                <a:moveTo>
                  <a:pt x="0" y="5"/>
                </a:moveTo>
                <a:lnTo>
                  <a:pt x="2" y="2"/>
                </a:lnTo>
                <a:lnTo>
                  <a:pt x="5" y="0"/>
                </a:lnTo>
                <a:lnTo>
                  <a:pt x="5" y="0"/>
                </a:lnTo>
                <a:lnTo>
                  <a:pt x="5" y="0"/>
                </a:lnTo>
                <a:lnTo>
                  <a:pt x="5" y="5"/>
                </a:lnTo>
                <a:lnTo>
                  <a:pt x="5" y="10"/>
                </a:lnTo>
                <a:lnTo>
                  <a:pt x="5" y="10"/>
                </a:lnTo>
                <a:lnTo>
                  <a:pt x="2" y="8"/>
                </a:lnTo>
                <a:lnTo>
                  <a:pt x="0" y="5"/>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310" name="ïṧľiḋê">
            <a:extLst>
              <a:ext uri="{FF2B5EF4-FFF2-40B4-BE49-F238E27FC236}">
                <a16:creationId xmlns:a16="http://schemas.microsoft.com/office/drawing/2014/main" id="{7654D35B-82DB-443C-BA61-D22EABAC08FA}"/>
              </a:ext>
            </a:extLst>
          </p:cNvPr>
          <p:cNvSpPr/>
          <p:nvPr/>
        </p:nvSpPr>
        <p:spPr bwMode="auto">
          <a:xfrm>
            <a:off x="11598915" y="5580934"/>
            <a:ext cx="31042" cy="66516"/>
          </a:xfrm>
          <a:custGeom>
            <a:avLst/>
            <a:gdLst>
              <a:gd name="T0" fmla="*/ 0 w 4"/>
              <a:gd name="T1" fmla="*/ 4 h 9"/>
              <a:gd name="T2" fmla="*/ 1 w 4"/>
              <a:gd name="T3" fmla="*/ 3 h 9"/>
              <a:gd name="T4" fmla="*/ 3 w 4"/>
              <a:gd name="T5" fmla="*/ 0 h 9"/>
              <a:gd name="T6" fmla="*/ 4 w 4"/>
              <a:gd name="T7" fmla="*/ 0 h 9"/>
              <a:gd name="T8" fmla="*/ 4 w 4"/>
              <a:gd name="T9" fmla="*/ 1 h 9"/>
              <a:gd name="T10" fmla="*/ 4 w 4"/>
              <a:gd name="T11" fmla="*/ 6 h 9"/>
              <a:gd name="T12" fmla="*/ 4 w 4"/>
              <a:gd name="T13" fmla="*/ 9 h 9"/>
              <a:gd name="T14" fmla="*/ 4 w 4"/>
              <a:gd name="T15" fmla="*/ 9 h 9"/>
              <a:gd name="T16" fmla="*/ 3 w 4"/>
              <a:gd name="T17" fmla="*/ 8 h 9"/>
              <a:gd name="T18" fmla="*/ 0 w 4"/>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9">
                <a:moveTo>
                  <a:pt x="0" y="4"/>
                </a:moveTo>
                <a:cubicBezTo>
                  <a:pt x="1" y="3"/>
                  <a:pt x="1" y="3"/>
                  <a:pt x="1" y="3"/>
                </a:cubicBezTo>
                <a:cubicBezTo>
                  <a:pt x="3" y="0"/>
                  <a:pt x="3" y="0"/>
                  <a:pt x="3" y="0"/>
                </a:cubicBezTo>
                <a:cubicBezTo>
                  <a:pt x="4" y="0"/>
                  <a:pt x="4" y="0"/>
                  <a:pt x="4" y="0"/>
                </a:cubicBezTo>
                <a:cubicBezTo>
                  <a:pt x="4" y="1"/>
                  <a:pt x="4" y="1"/>
                  <a:pt x="4" y="1"/>
                </a:cubicBezTo>
                <a:cubicBezTo>
                  <a:pt x="4" y="3"/>
                  <a:pt x="4" y="4"/>
                  <a:pt x="4" y="6"/>
                </a:cubicBezTo>
                <a:cubicBezTo>
                  <a:pt x="4" y="9"/>
                  <a:pt x="4" y="9"/>
                  <a:pt x="4" y="9"/>
                </a:cubicBezTo>
                <a:cubicBezTo>
                  <a:pt x="4" y="9"/>
                  <a:pt x="4" y="9"/>
                  <a:pt x="4" y="9"/>
                </a:cubicBezTo>
                <a:cubicBezTo>
                  <a:pt x="3" y="8"/>
                  <a:pt x="3" y="8"/>
                  <a:pt x="3" y="8"/>
                </a:cubicBezTo>
                <a:lnTo>
                  <a:pt x="0" y="4"/>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311" name="ïşḻiḑè">
            <a:extLst>
              <a:ext uri="{FF2B5EF4-FFF2-40B4-BE49-F238E27FC236}">
                <a16:creationId xmlns:a16="http://schemas.microsoft.com/office/drawing/2014/main" id="{586702F2-1035-45FB-AB1C-0D9053B9C739}"/>
              </a:ext>
            </a:extLst>
          </p:cNvPr>
          <p:cNvSpPr/>
          <p:nvPr/>
        </p:nvSpPr>
        <p:spPr bwMode="auto">
          <a:xfrm>
            <a:off x="11457019" y="6002187"/>
            <a:ext cx="35474" cy="0"/>
          </a:xfrm>
          <a:custGeom>
            <a:avLst/>
            <a:gdLst>
              <a:gd name="T0" fmla="*/ 0 w 8"/>
              <a:gd name="T1" fmla="*/ 3 w 8"/>
              <a:gd name="T2" fmla="*/ 5 w 8"/>
              <a:gd name="T3" fmla="*/ 8 w 8"/>
              <a:gd name="T4" fmla="*/ 8 w 8"/>
              <a:gd name="T5" fmla="*/ 6 w 8"/>
              <a:gd name="T6" fmla="*/ 3 w 8"/>
              <a:gd name="T7" fmla="*/ 0 w 8"/>
              <a:gd name="T8" fmla="*/ 0 w 8"/>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8">
                <a:moveTo>
                  <a:pt x="0" y="0"/>
                </a:moveTo>
                <a:lnTo>
                  <a:pt x="3" y="0"/>
                </a:lnTo>
                <a:lnTo>
                  <a:pt x="5" y="0"/>
                </a:lnTo>
                <a:lnTo>
                  <a:pt x="8" y="0"/>
                </a:lnTo>
                <a:lnTo>
                  <a:pt x="8" y="0"/>
                </a:lnTo>
                <a:lnTo>
                  <a:pt x="6" y="0"/>
                </a:lnTo>
                <a:lnTo>
                  <a:pt x="3" y="0"/>
                </a:lnTo>
                <a:lnTo>
                  <a:pt x="0" y="0"/>
                </a:lnTo>
                <a:lnTo>
                  <a:pt x="0"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312" name="iṥļíďê">
            <a:extLst>
              <a:ext uri="{FF2B5EF4-FFF2-40B4-BE49-F238E27FC236}">
                <a16:creationId xmlns:a16="http://schemas.microsoft.com/office/drawing/2014/main" id="{EAC55552-2451-42DA-8E68-F54885A680CD}"/>
              </a:ext>
            </a:extLst>
          </p:cNvPr>
          <p:cNvSpPr/>
          <p:nvPr/>
        </p:nvSpPr>
        <p:spPr bwMode="auto">
          <a:xfrm>
            <a:off x="11492494" y="6104176"/>
            <a:ext cx="35474" cy="26605"/>
          </a:xfrm>
          <a:custGeom>
            <a:avLst/>
            <a:gdLst>
              <a:gd name="T0" fmla="*/ 2 w 8"/>
              <a:gd name="T1" fmla="*/ 5 h 6"/>
              <a:gd name="T2" fmla="*/ 3 w 8"/>
              <a:gd name="T3" fmla="*/ 1 h 6"/>
              <a:gd name="T4" fmla="*/ 3 w 8"/>
              <a:gd name="T5" fmla="*/ 1 h 6"/>
              <a:gd name="T6" fmla="*/ 5 w 8"/>
              <a:gd name="T7" fmla="*/ 1 h 6"/>
              <a:gd name="T8" fmla="*/ 5 w 8"/>
              <a:gd name="T9" fmla="*/ 0 h 6"/>
              <a:gd name="T10" fmla="*/ 6 w 8"/>
              <a:gd name="T11" fmla="*/ 3 h 6"/>
              <a:gd name="T12" fmla="*/ 6 w 8"/>
              <a:gd name="T13" fmla="*/ 5 h 6"/>
              <a:gd name="T14" fmla="*/ 8 w 8"/>
              <a:gd name="T15" fmla="*/ 6 h 6"/>
              <a:gd name="T16" fmla="*/ 6 w 8"/>
              <a:gd name="T17" fmla="*/ 6 h 6"/>
              <a:gd name="T18" fmla="*/ 3 w 8"/>
              <a:gd name="T19" fmla="*/ 6 h 6"/>
              <a:gd name="T20" fmla="*/ 2 w 8"/>
              <a:gd name="T21" fmla="*/ 6 h 6"/>
              <a:gd name="T22" fmla="*/ 0 w 8"/>
              <a:gd name="T23" fmla="*/ 6 h 6"/>
              <a:gd name="T24" fmla="*/ 0 w 8"/>
              <a:gd name="T25" fmla="*/ 5 h 6"/>
              <a:gd name="T26" fmla="*/ 2 w 8"/>
              <a:gd name="T2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6">
                <a:moveTo>
                  <a:pt x="2" y="5"/>
                </a:moveTo>
                <a:lnTo>
                  <a:pt x="3" y="1"/>
                </a:lnTo>
                <a:lnTo>
                  <a:pt x="3" y="1"/>
                </a:lnTo>
                <a:lnTo>
                  <a:pt x="5" y="1"/>
                </a:lnTo>
                <a:lnTo>
                  <a:pt x="5" y="0"/>
                </a:lnTo>
                <a:lnTo>
                  <a:pt x="6" y="3"/>
                </a:lnTo>
                <a:lnTo>
                  <a:pt x="6" y="5"/>
                </a:lnTo>
                <a:lnTo>
                  <a:pt x="8" y="6"/>
                </a:lnTo>
                <a:lnTo>
                  <a:pt x="6" y="6"/>
                </a:lnTo>
                <a:lnTo>
                  <a:pt x="3" y="6"/>
                </a:lnTo>
                <a:lnTo>
                  <a:pt x="2" y="6"/>
                </a:lnTo>
                <a:lnTo>
                  <a:pt x="0" y="6"/>
                </a:lnTo>
                <a:lnTo>
                  <a:pt x="0" y="5"/>
                </a:lnTo>
                <a:lnTo>
                  <a:pt x="2" y="5"/>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313" name="iŝľiḋe">
            <a:extLst>
              <a:ext uri="{FF2B5EF4-FFF2-40B4-BE49-F238E27FC236}">
                <a16:creationId xmlns:a16="http://schemas.microsoft.com/office/drawing/2014/main" id="{F534447B-8A87-450C-A050-B86C9E081E23}"/>
              </a:ext>
            </a:extLst>
          </p:cNvPr>
          <p:cNvSpPr/>
          <p:nvPr/>
        </p:nvSpPr>
        <p:spPr bwMode="auto">
          <a:xfrm>
            <a:off x="11479189" y="6144084"/>
            <a:ext cx="128595" cy="22173"/>
          </a:xfrm>
          <a:custGeom>
            <a:avLst/>
            <a:gdLst>
              <a:gd name="T0" fmla="*/ 0 w 18"/>
              <a:gd name="T1" fmla="*/ 1 h 3"/>
              <a:gd name="T2" fmla="*/ 0 w 18"/>
              <a:gd name="T3" fmla="*/ 0 h 3"/>
              <a:gd name="T4" fmla="*/ 1 w 18"/>
              <a:gd name="T5" fmla="*/ 0 h 3"/>
              <a:gd name="T6" fmla="*/ 3 w 18"/>
              <a:gd name="T7" fmla="*/ 0 h 3"/>
              <a:gd name="T8" fmla="*/ 5 w 18"/>
              <a:gd name="T9" fmla="*/ 0 h 3"/>
              <a:gd name="T10" fmla="*/ 6 w 18"/>
              <a:gd name="T11" fmla="*/ 0 h 3"/>
              <a:gd name="T12" fmla="*/ 8 w 18"/>
              <a:gd name="T13" fmla="*/ 0 h 3"/>
              <a:gd name="T14" fmla="*/ 10 w 18"/>
              <a:gd name="T15" fmla="*/ 0 h 3"/>
              <a:gd name="T16" fmla="*/ 10 w 18"/>
              <a:gd name="T17" fmla="*/ 0 h 3"/>
              <a:gd name="T18" fmla="*/ 12 w 18"/>
              <a:gd name="T19" fmla="*/ 0 h 3"/>
              <a:gd name="T20" fmla="*/ 15 w 18"/>
              <a:gd name="T21" fmla="*/ 0 h 3"/>
              <a:gd name="T22" fmla="*/ 17 w 18"/>
              <a:gd name="T23" fmla="*/ 0 h 3"/>
              <a:gd name="T24" fmla="*/ 18 w 18"/>
              <a:gd name="T25" fmla="*/ 0 h 3"/>
              <a:gd name="T26" fmla="*/ 18 w 18"/>
              <a:gd name="T27" fmla="*/ 0 h 3"/>
              <a:gd name="T28" fmla="*/ 18 w 18"/>
              <a:gd name="T29" fmla="*/ 2 h 3"/>
              <a:gd name="T30" fmla="*/ 18 w 18"/>
              <a:gd name="T31" fmla="*/ 3 h 3"/>
              <a:gd name="T32" fmla="*/ 15 w 18"/>
              <a:gd name="T33" fmla="*/ 3 h 3"/>
              <a:gd name="T34" fmla="*/ 13 w 18"/>
              <a:gd name="T35" fmla="*/ 3 h 3"/>
              <a:gd name="T36" fmla="*/ 13 w 18"/>
              <a:gd name="T37" fmla="*/ 3 h 3"/>
              <a:gd name="T38" fmla="*/ 12 w 18"/>
              <a:gd name="T39" fmla="*/ 3 h 3"/>
              <a:gd name="T40" fmla="*/ 9 w 18"/>
              <a:gd name="T41" fmla="*/ 3 h 3"/>
              <a:gd name="T42" fmla="*/ 8 w 18"/>
              <a:gd name="T43" fmla="*/ 3 h 3"/>
              <a:gd name="T44" fmla="*/ 6 w 18"/>
              <a:gd name="T45" fmla="*/ 3 h 3"/>
              <a:gd name="T46" fmla="*/ 4 w 18"/>
              <a:gd name="T47" fmla="*/ 3 h 3"/>
              <a:gd name="T48" fmla="*/ 2 w 18"/>
              <a:gd name="T49" fmla="*/ 3 h 3"/>
              <a:gd name="T50" fmla="*/ 0 w 18"/>
              <a:gd name="T51" fmla="*/ 3 h 3"/>
              <a:gd name="T52" fmla="*/ 0 w 18"/>
              <a:gd name="T53" fmla="*/ 3 h 3"/>
              <a:gd name="T54" fmla="*/ 0 w 18"/>
              <a:gd name="T55" fmla="*/ 3 h 3"/>
              <a:gd name="T56" fmla="*/ 0 w 18"/>
              <a:gd name="T5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 h="3">
                <a:moveTo>
                  <a:pt x="0" y="1"/>
                </a:moveTo>
                <a:cubicBezTo>
                  <a:pt x="0" y="0"/>
                  <a:pt x="0" y="0"/>
                  <a:pt x="0" y="0"/>
                </a:cubicBezTo>
                <a:cubicBezTo>
                  <a:pt x="1" y="0"/>
                  <a:pt x="1" y="0"/>
                  <a:pt x="1" y="0"/>
                </a:cubicBezTo>
                <a:cubicBezTo>
                  <a:pt x="3" y="0"/>
                  <a:pt x="3" y="0"/>
                  <a:pt x="3" y="0"/>
                </a:cubicBezTo>
                <a:cubicBezTo>
                  <a:pt x="5" y="0"/>
                  <a:pt x="5" y="0"/>
                  <a:pt x="5" y="0"/>
                </a:cubicBezTo>
                <a:cubicBezTo>
                  <a:pt x="6" y="0"/>
                  <a:pt x="6" y="0"/>
                  <a:pt x="6" y="0"/>
                </a:cubicBezTo>
                <a:cubicBezTo>
                  <a:pt x="8" y="0"/>
                  <a:pt x="8" y="0"/>
                  <a:pt x="8" y="0"/>
                </a:cubicBezTo>
                <a:cubicBezTo>
                  <a:pt x="10" y="0"/>
                  <a:pt x="10" y="0"/>
                  <a:pt x="10" y="0"/>
                </a:cubicBezTo>
                <a:cubicBezTo>
                  <a:pt x="10" y="0"/>
                  <a:pt x="10" y="0"/>
                  <a:pt x="10" y="0"/>
                </a:cubicBezTo>
                <a:cubicBezTo>
                  <a:pt x="12" y="0"/>
                  <a:pt x="12" y="0"/>
                  <a:pt x="12" y="0"/>
                </a:cubicBezTo>
                <a:cubicBezTo>
                  <a:pt x="15" y="0"/>
                  <a:pt x="15" y="0"/>
                  <a:pt x="15" y="0"/>
                </a:cubicBezTo>
                <a:cubicBezTo>
                  <a:pt x="17" y="0"/>
                  <a:pt x="17" y="0"/>
                  <a:pt x="17" y="0"/>
                </a:cubicBezTo>
                <a:cubicBezTo>
                  <a:pt x="18" y="0"/>
                  <a:pt x="18" y="0"/>
                  <a:pt x="18" y="0"/>
                </a:cubicBezTo>
                <a:cubicBezTo>
                  <a:pt x="18" y="0"/>
                  <a:pt x="18" y="0"/>
                  <a:pt x="18" y="0"/>
                </a:cubicBezTo>
                <a:cubicBezTo>
                  <a:pt x="18" y="1"/>
                  <a:pt x="18" y="2"/>
                  <a:pt x="18" y="2"/>
                </a:cubicBezTo>
                <a:cubicBezTo>
                  <a:pt x="18" y="3"/>
                  <a:pt x="18" y="3"/>
                  <a:pt x="18" y="3"/>
                </a:cubicBezTo>
                <a:cubicBezTo>
                  <a:pt x="15" y="3"/>
                  <a:pt x="15" y="3"/>
                  <a:pt x="15" y="3"/>
                </a:cubicBezTo>
                <a:cubicBezTo>
                  <a:pt x="13" y="3"/>
                  <a:pt x="13" y="3"/>
                  <a:pt x="13" y="3"/>
                </a:cubicBezTo>
                <a:cubicBezTo>
                  <a:pt x="13" y="3"/>
                  <a:pt x="13" y="3"/>
                  <a:pt x="13" y="3"/>
                </a:cubicBezTo>
                <a:cubicBezTo>
                  <a:pt x="12" y="3"/>
                  <a:pt x="12" y="3"/>
                  <a:pt x="12" y="3"/>
                </a:cubicBezTo>
                <a:cubicBezTo>
                  <a:pt x="9" y="3"/>
                  <a:pt x="9" y="3"/>
                  <a:pt x="9" y="3"/>
                </a:cubicBezTo>
                <a:cubicBezTo>
                  <a:pt x="8" y="3"/>
                  <a:pt x="8" y="3"/>
                  <a:pt x="8" y="3"/>
                </a:cubicBezTo>
                <a:cubicBezTo>
                  <a:pt x="6" y="3"/>
                  <a:pt x="6" y="3"/>
                  <a:pt x="6" y="3"/>
                </a:cubicBezTo>
                <a:cubicBezTo>
                  <a:pt x="4" y="3"/>
                  <a:pt x="4" y="3"/>
                  <a:pt x="4" y="3"/>
                </a:cubicBezTo>
                <a:cubicBezTo>
                  <a:pt x="2" y="3"/>
                  <a:pt x="2" y="3"/>
                  <a:pt x="2" y="3"/>
                </a:cubicBezTo>
                <a:cubicBezTo>
                  <a:pt x="0" y="3"/>
                  <a:pt x="0" y="3"/>
                  <a:pt x="0" y="3"/>
                </a:cubicBezTo>
                <a:cubicBezTo>
                  <a:pt x="0" y="3"/>
                  <a:pt x="0" y="3"/>
                  <a:pt x="0" y="3"/>
                </a:cubicBezTo>
                <a:cubicBezTo>
                  <a:pt x="0" y="3"/>
                  <a:pt x="0" y="3"/>
                  <a:pt x="0" y="3"/>
                </a:cubicBezTo>
                <a:lnTo>
                  <a:pt x="0" y="1"/>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314" name="îṧḻîḋe">
            <a:extLst>
              <a:ext uri="{FF2B5EF4-FFF2-40B4-BE49-F238E27FC236}">
                <a16:creationId xmlns:a16="http://schemas.microsoft.com/office/drawing/2014/main" id="{32024E74-5699-4678-9112-383F125DDF10}"/>
              </a:ext>
            </a:extLst>
          </p:cNvPr>
          <p:cNvSpPr/>
          <p:nvPr/>
        </p:nvSpPr>
        <p:spPr bwMode="auto">
          <a:xfrm>
            <a:off x="11461452" y="6232768"/>
            <a:ext cx="115291" cy="44342"/>
          </a:xfrm>
          <a:custGeom>
            <a:avLst/>
            <a:gdLst>
              <a:gd name="T0" fmla="*/ 26 w 26"/>
              <a:gd name="T1" fmla="*/ 10 h 10"/>
              <a:gd name="T2" fmla="*/ 25 w 26"/>
              <a:gd name="T3" fmla="*/ 10 h 10"/>
              <a:gd name="T4" fmla="*/ 25 w 26"/>
              <a:gd name="T5" fmla="*/ 10 h 10"/>
              <a:gd name="T6" fmla="*/ 22 w 26"/>
              <a:gd name="T7" fmla="*/ 10 h 10"/>
              <a:gd name="T8" fmla="*/ 20 w 26"/>
              <a:gd name="T9" fmla="*/ 10 h 10"/>
              <a:gd name="T10" fmla="*/ 17 w 26"/>
              <a:gd name="T11" fmla="*/ 10 h 10"/>
              <a:gd name="T12" fmla="*/ 17 w 26"/>
              <a:gd name="T13" fmla="*/ 10 h 10"/>
              <a:gd name="T14" fmla="*/ 15 w 26"/>
              <a:gd name="T15" fmla="*/ 10 h 10"/>
              <a:gd name="T16" fmla="*/ 13 w 26"/>
              <a:gd name="T17" fmla="*/ 10 h 10"/>
              <a:gd name="T18" fmla="*/ 12 w 26"/>
              <a:gd name="T19" fmla="*/ 10 h 10"/>
              <a:gd name="T20" fmla="*/ 9 w 26"/>
              <a:gd name="T21" fmla="*/ 10 h 10"/>
              <a:gd name="T22" fmla="*/ 5 w 26"/>
              <a:gd name="T23" fmla="*/ 10 h 10"/>
              <a:gd name="T24" fmla="*/ 4 w 26"/>
              <a:gd name="T25" fmla="*/ 10 h 10"/>
              <a:gd name="T26" fmla="*/ 2 w 26"/>
              <a:gd name="T27" fmla="*/ 10 h 10"/>
              <a:gd name="T28" fmla="*/ 0 w 26"/>
              <a:gd name="T29" fmla="*/ 10 h 10"/>
              <a:gd name="T30" fmla="*/ 2 w 26"/>
              <a:gd name="T31" fmla="*/ 8 h 10"/>
              <a:gd name="T32" fmla="*/ 2 w 26"/>
              <a:gd name="T33" fmla="*/ 8 h 10"/>
              <a:gd name="T34" fmla="*/ 4 w 26"/>
              <a:gd name="T35" fmla="*/ 8 h 10"/>
              <a:gd name="T36" fmla="*/ 5 w 26"/>
              <a:gd name="T37" fmla="*/ 7 h 10"/>
              <a:gd name="T38" fmla="*/ 7 w 26"/>
              <a:gd name="T39" fmla="*/ 5 h 10"/>
              <a:gd name="T40" fmla="*/ 9 w 26"/>
              <a:gd name="T41" fmla="*/ 5 h 10"/>
              <a:gd name="T42" fmla="*/ 9 w 26"/>
              <a:gd name="T43" fmla="*/ 5 h 10"/>
              <a:gd name="T44" fmla="*/ 10 w 26"/>
              <a:gd name="T45" fmla="*/ 3 h 10"/>
              <a:gd name="T46" fmla="*/ 10 w 26"/>
              <a:gd name="T47" fmla="*/ 3 h 10"/>
              <a:gd name="T48" fmla="*/ 12 w 26"/>
              <a:gd name="T49" fmla="*/ 2 h 10"/>
              <a:gd name="T50" fmla="*/ 13 w 26"/>
              <a:gd name="T51" fmla="*/ 2 h 10"/>
              <a:gd name="T52" fmla="*/ 15 w 26"/>
              <a:gd name="T53" fmla="*/ 0 h 10"/>
              <a:gd name="T54" fmla="*/ 15 w 26"/>
              <a:gd name="T55" fmla="*/ 0 h 10"/>
              <a:gd name="T56" fmla="*/ 17 w 26"/>
              <a:gd name="T57" fmla="*/ 2 h 10"/>
              <a:gd name="T58" fmla="*/ 26 w 26"/>
              <a:gd name="T5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 h="10">
                <a:moveTo>
                  <a:pt x="26" y="10"/>
                </a:moveTo>
                <a:lnTo>
                  <a:pt x="25" y="10"/>
                </a:lnTo>
                <a:lnTo>
                  <a:pt x="25" y="10"/>
                </a:lnTo>
                <a:lnTo>
                  <a:pt x="22" y="10"/>
                </a:lnTo>
                <a:lnTo>
                  <a:pt x="20" y="10"/>
                </a:lnTo>
                <a:lnTo>
                  <a:pt x="17" y="10"/>
                </a:lnTo>
                <a:lnTo>
                  <a:pt x="17" y="10"/>
                </a:lnTo>
                <a:lnTo>
                  <a:pt x="15" y="10"/>
                </a:lnTo>
                <a:lnTo>
                  <a:pt x="13" y="10"/>
                </a:lnTo>
                <a:lnTo>
                  <a:pt x="12" y="10"/>
                </a:lnTo>
                <a:lnTo>
                  <a:pt x="9" y="10"/>
                </a:lnTo>
                <a:lnTo>
                  <a:pt x="5" y="10"/>
                </a:lnTo>
                <a:lnTo>
                  <a:pt x="4" y="10"/>
                </a:lnTo>
                <a:lnTo>
                  <a:pt x="2" y="10"/>
                </a:lnTo>
                <a:lnTo>
                  <a:pt x="0" y="10"/>
                </a:lnTo>
                <a:lnTo>
                  <a:pt x="2" y="8"/>
                </a:lnTo>
                <a:lnTo>
                  <a:pt x="2" y="8"/>
                </a:lnTo>
                <a:lnTo>
                  <a:pt x="4" y="8"/>
                </a:lnTo>
                <a:lnTo>
                  <a:pt x="5" y="7"/>
                </a:lnTo>
                <a:lnTo>
                  <a:pt x="7" y="5"/>
                </a:lnTo>
                <a:lnTo>
                  <a:pt x="9" y="5"/>
                </a:lnTo>
                <a:lnTo>
                  <a:pt x="9" y="5"/>
                </a:lnTo>
                <a:lnTo>
                  <a:pt x="10" y="3"/>
                </a:lnTo>
                <a:lnTo>
                  <a:pt x="10" y="3"/>
                </a:lnTo>
                <a:lnTo>
                  <a:pt x="12" y="2"/>
                </a:lnTo>
                <a:lnTo>
                  <a:pt x="13" y="2"/>
                </a:lnTo>
                <a:lnTo>
                  <a:pt x="15" y="0"/>
                </a:lnTo>
                <a:lnTo>
                  <a:pt x="15" y="0"/>
                </a:lnTo>
                <a:lnTo>
                  <a:pt x="17" y="2"/>
                </a:lnTo>
                <a:lnTo>
                  <a:pt x="26" y="1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315" name="îSľidè">
            <a:extLst>
              <a:ext uri="{FF2B5EF4-FFF2-40B4-BE49-F238E27FC236}">
                <a16:creationId xmlns:a16="http://schemas.microsoft.com/office/drawing/2014/main" id="{E2D761C5-FD33-4CC6-8BA5-6450756EB8AF}"/>
              </a:ext>
            </a:extLst>
          </p:cNvPr>
          <p:cNvSpPr/>
          <p:nvPr/>
        </p:nvSpPr>
        <p:spPr bwMode="auto">
          <a:xfrm>
            <a:off x="11559006" y="6246073"/>
            <a:ext cx="257186" cy="328135"/>
          </a:xfrm>
          <a:custGeom>
            <a:avLst/>
            <a:gdLst>
              <a:gd name="T0" fmla="*/ 4 w 36"/>
              <a:gd name="T1" fmla="*/ 22 h 45"/>
              <a:gd name="T2" fmla="*/ 5 w 36"/>
              <a:gd name="T3" fmla="*/ 22 h 45"/>
              <a:gd name="T4" fmla="*/ 5 w 36"/>
              <a:gd name="T5" fmla="*/ 19 h 45"/>
              <a:gd name="T6" fmla="*/ 5 w 36"/>
              <a:gd name="T7" fmla="*/ 16 h 45"/>
              <a:gd name="T8" fmla="*/ 6 w 36"/>
              <a:gd name="T9" fmla="*/ 13 h 45"/>
              <a:gd name="T10" fmla="*/ 6 w 36"/>
              <a:gd name="T11" fmla="*/ 10 h 45"/>
              <a:gd name="T12" fmla="*/ 7 w 36"/>
              <a:gd name="T13" fmla="*/ 7 h 45"/>
              <a:gd name="T14" fmla="*/ 7 w 36"/>
              <a:gd name="T15" fmla="*/ 5 h 45"/>
              <a:gd name="T16" fmla="*/ 7 w 36"/>
              <a:gd name="T17" fmla="*/ 2 h 45"/>
              <a:gd name="T18" fmla="*/ 10 w 36"/>
              <a:gd name="T19" fmla="*/ 1 h 45"/>
              <a:gd name="T20" fmla="*/ 15 w 36"/>
              <a:gd name="T21" fmla="*/ 1 h 45"/>
              <a:gd name="T22" fmla="*/ 20 w 36"/>
              <a:gd name="T23" fmla="*/ 1 h 45"/>
              <a:gd name="T24" fmla="*/ 27 w 36"/>
              <a:gd name="T25" fmla="*/ 1 h 45"/>
              <a:gd name="T26" fmla="*/ 27 w 36"/>
              <a:gd name="T27" fmla="*/ 2 h 45"/>
              <a:gd name="T28" fmla="*/ 28 w 36"/>
              <a:gd name="T29" fmla="*/ 6 h 45"/>
              <a:gd name="T30" fmla="*/ 29 w 36"/>
              <a:gd name="T31" fmla="*/ 13 h 45"/>
              <a:gd name="T32" fmla="*/ 30 w 36"/>
              <a:gd name="T33" fmla="*/ 18 h 45"/>
              <a:gd name="T34" fmla="*/ 30 w 36"/>
              <a:gd name="T35" fmla="*/ 21 h 45"/>
              <a:gd name="T36" fmla="*/ 31 w 36"/>
              <a:gd name="T37" fmla="*/ 24 h 45"/>
              <a:gd name="T38" fmla="*/ 32 w 36"/>
              <a:gd name="T39" fmla="*/ 32 h 45"/>
              <a:gd name="T40" fmla="*/ 33 w 36"/>
              <a:gd name="T41" fmla="*/ 35 h 45"/>
              <a:gd name="T42" fmla="*/ 34 w 36"/>
              <a:gd name="T43" fmla="*/ 38 h 45"/>
              <a:gd name="T44" fmla="*/ 35 w 36"/>
              <a:gd name="T45" fmla="*/ 41 h 45"/>
              <a:gd name="T46" fmla="*/ 36 w 36"/>
              <a:gd name="T47" fmla="*/ 44 h 45"/>
              <a:gd name="T48" fmla="*/ 32 w 36"/>
              <a:gd name="T49" fmla="*/ 45 h 45"/>
              <a:gd name="T50" fmla="*/ 29 w 36"/>
              <a:gd name="T51" fmla="*/ 45 h 45"/>
              <a:gd name="T52" fmla="*/ 28 w 36"/>
              <a:gd name="T53" fmla="*/ 45 h 45"/>
              <a:gd name="T54" fmla="*/ 25 w 36"/>
              <a:gd name="T55" fmla="*/ 45 h 45"/>
              <a:gd name="T56" fmla="*/ 21 w 36"/>
              <a:gd name="T57" fmla="*/ 45 h 45"/>
              <a:gd name="T58" fmla="*/ 21 w 36"/>
              <a:gd name="T59" fmla="*/ 45 h 45"/>
              <a:gd name="T60" fmla="*/ 17 w 36"/>
              <a:gd name="T61" fmla="*/ 45 h 45"/>
              <a:gd name="T62" fmla="*/ 14 w 36"/>
              <a:gd name="T63" fmla="*/ 45 h 45"/>
              <a:gd name="T64" fmla="*/ 11 w 36"/>
              <a:gd name="T65" fmla="*/ 45 h 45"/>
              <a:gd name="T66" fmla="*/ 7 w 36"/>
              <a:gd name="T67" fmla="*/ 45 h 45"/>
              <a:gd name="T68" fmla="*/ 6 w 36"/>
              <a:gd name="T69" fmla="*/ 45 h 45"/>
              <a:gd name="T70" fmla="*/ 2 w 36"/>
              <a:gd name="T71" fmla="*/ 45 h 45"/>
              <a:gd name="T72" fmla="*/ 0 w 36"/>
              <a:gd name="T73" fmla="*/ 44 h 45"/>
              <a:gd name="T74" fmla="*/ 1 w 36"/>
              <a:gd name="T75" fmla="*/ 41 h 45"/>
              <a:gd name="T76" fmla="*/ 1 w 36"/>
              <a:gd name="T77" fmla="*/ 38 h 45"/>
              <a:gd name="T78" fmla="*/ 2 w 36"/>
              <a:gd name="T79" fmla="*/ 37 h 45"/>
              <a:gd name="T80" fmla="*/ 2 w 36"/>
              <a:gd name="T81" fmla="*/ 33 h 45"/>
              <a:gd name="T82" fmla="*/ 3 w 36"/>
              <a:gd name="T83" fmla="*/ 30 h 45"/>
              <a:gd name="T84" fmla="*/ 4 w 36"/>
              <a:gd name="T85" fmla="*/ 26 h 45"/>
              <a:gd name="T86" fmla="*/ 4 w 36"/>
              <a:gd name="T87" fmla="*/ 2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 h="45">
                <a:moveTo>
                  <a:pt x="4" y="23"/>
                </a:moveTo>
                <a:cubicBezTo>
                  <a:pt x="4" y="22"/>
                  <a:pt x="4" y="22"/>
                  <a:pt x="4" y="22"/>
                </a:cubicBezTo>
                <a:cubicBezTo>
                  <a:pt x="4" y="22"/>
                  <a:pt x="4" y="22"/>
                  <a:pt x="4" y="22"/>
                </a:cubicBezTo>
                <a:cubicBezTo>
                  <a:pt x="4" y="22"/>
                  <a:pt x="4" y="22"/>
                  <a:pt x="4" y="22"/>
                </a:cubicBezTo>
                <a:cubicBezTo>
                  <a:pt x="4" y="22"/>
                  <a:pt x="4" y="22"/>
                  <a:pt x="4" y="22"/>
                </a:cubicBezTo>
                <a:cubicBezTo>
                  <a:pt x="5" y="22"/>
                  <a:pt x="5" y="22"/>
                  <a:pt x="5" y="22"/>
                </a:cubicBezTo>
                <a:cubicBezTo>
                  <a:pt x="5" y="22"/>
                  <a:pt x="5" y="22"/>
                  <a:pt x="5" y="22"/>
                </a:cubicBezTo>
                <a:cubicBezTo>
                  <a:pt x="5" y="21"/>
                  <a:pt x="5" y="21"/>
                  <a:pt x="5" y="21"/>
                </a:cubicBezTo>
                <a:cubicBezTo>
                  <a:pt x="5" y="19"/>
                  <a:pt x="5" y="19"/>
                  <a:pt x="5" y="19"/>
                </a:cubicBezTo>
                <a:cubicBezTo>
                  <a:pt x="5" y="19"/>
                  <a:pt x="5" y="19"/>
                  <a:pt x="5" y="19"/>
                </a:cubicBezTo>
                <a:cubicBezTo>
                  <a:pt x="5" y="18"/>
                  <a:pt x="5" y="18"/>
                  <a:pt x="5" y="18"/>
                </a:cubicBezTo>
                <a:cubicBezTo>
                  <a:pt x="5" y="18"/>
                  <a:pt x="5" y="17"/>
                  <a:pt x="5" y="16"/>
                </a:cubicBezTo>
                <a:cubicBezTo>
                  <a:pt x="6" y="15"/>
                  <a:pt x="6" y="15"/>
                  <a:pt x="6" y="15"/>
                </a:cubicBezTo>
                <a:cubicBezTo>
                  <a:pt x="6" y="14"/>
                  <a:pt x="6" y="14"/>
                  <a:pt x="6" y="14"/>
                </a:cubicBezTo>
                <a:cubicBezTo>
                  <a:pt x="6" y="13"/>
                  <a:pt x="6" y="13"/>
                  <a:pt x="6" y="13"/>
                </a:cubicBezTo>
                <a:cubicBezTo>
                  <a:pt x="6" y="12"/>
                  <a:pt x="6" y="12"/>
                  <a:pt x="6" y="12"/>
                </a:cubicBezTo>
                <a:cubicBezTo>
                  <a:pt x="6" y="12"/>
                  <a:pt x="6" y="12"/>
                  <a:pt x="6" y="12"/>
                </a:cubicBezTo>
                <a:cubicBezTo>
                  <a:pt x="6" y="10"/>
                  <a:pt x="6" y="10"/>
                  <a:pt x="6" y="10"/>
                </a:cubicBezTo>
                <a:cubicBezTo>
                  <a:pt x="6" y="9"/>
                  <a:pt x="6" y="9"/>
                  <a:pt x="6" y="9"/>
                </a:cubicBezTo>
                <a:cubicBezTo>
                  <a:pt x="6" y="8"/>
                  <a:pt x="6" y="8"/>
                  <a:pt x="6" y="8"/>
                </a:cubicBezTo>
                <a:cubicBezTo>
                  <a:pt x="7" y="7"/>
                  <a:pt x="7" y="7"/>
                  <a:pt x="7" y="7"/>
                </a:cubicBezTo>
                <a:cubicBezTo>
                  <a:pt x="7" y="6"/>
                  <a:pt x="7" y="6"/>
                  <a:pt x="7" y="6"/>
                </a:cubicBezTo>
                <a:cubicBezTo>
                  <a:pt x="7" y="5"/>
                  <a:pt x="7" y="5"/>
                  <a:pt x="7" y="5"/>
                </a:cubicBezTo>
                <a:cubicBezTo>
                  <a:pt x="7" y="5"/>
                  <a:pt x="7" y="5"/>
                  <a:pt x="7" y="5"/>
                </a:cubicBezTo>
                <a:cubicBezTo>
                  <a:pt x="7" y="5"/>
                  <a:pt x="7" y="5"/>
                  <a:pt x="7" y="5"/>
                </a:cubicBezTo>
                <a:cubicBezTo>
                  <a:pt x="7" y="4"/>
                  <a:pt x="7" y="4"/>
                  <a:pt x="7" y="4"/>
                </a:cubicBezTo>
                <a:cubicBezTo>
                  <a:pt x="7" y="2"/>
                  <a:pt x="7" y="2"/>
                  <a:pt x="7" y="2"/>
                </a:cubicBezTo>
                <a:cubicBezTo>
                  <a:pt x="7" y="1"/>
                  <a:pt x="7" y="1"/>
                  <a:pt x="7" y="1"/>
                </a:cubicBezTo>
                <a:cubicBezTo>
                  <a:pt x="8" y="1"/>
                  <a:pt x="8" y="1"/>
                  <a:pt x="8" y="1"/>
                </a:cubicBezTo>
                <a:cubicBezTo>
                  <a:pt x="10" y="1"/>
                  <a:pt x="10" y="1"/>
                  <a:pt x="10" y="1"/>
                </a:cubicBezTo>
                <a:cubicBezTo>
                  <a:pt x="11" y="1"/>
                  <a:pt x="11" y="1"/>
                  <a:pt x="11" y="1"/>
                </a:cubicBezTo>
                <a:cubicBezTo>
                  <a:pt x="13" y="1"/>
                  <a:pt x="13" y="1"/>
                  <a:pt x="13" y="1"/>
                </a:cubicBezTo>
                <a:cubicBezTo>
                  <a:pt x="15" y="1"/>
                  <a:pt x="15" y="1"/>
                  <a:pt x="15" y="1"/>
                </a:cubicBezTo>
                <a:cubicBezTo>
                  <a:pt x="15" y="1"/>
                  <a:pt x="15" y="1"/>
                  <a:pt x="15" y="1"/>
                </a:cubicBezTo>
                <a:cubicBezTo>
                  <a:pt x="17" y="1"/>
                  <a:pt x="17" y="1"/>
                  <a:pt x="17" y="1"/>
                </a:cubicBezTo>
                <a:cubicBezTo>
                  <a:pt x="20" y="1"/>
                  <a:pt x="20" y="1"/>
                  <a:pt x="20" y="1"/>
                </a:cubicBezTo>
                <a:cubicBezTo>
                  <a:pt x="22" y="1"/>
                  <a:pt x="22" y="1"/>
                  <a:pt x="22" y="1"/>
                </a:cubicBezTo>
                <a:cubicBezTo>
                  <a:pt x="26" y="1"/>
                  <a:pt x="26" y="1"/>
                  <a:pt x="26" y="1"/>
                </a:cubicBezTo>
                <a:cubicBezTo>
                  <a:pt x="27" y="1"/>
                  <a:pt x="27" y="1"/>
                  <a:pt x="27" y="1"/>
                </a:cubicBezTo>
                <a:cubicBezTo>
                  <a:pt x="27" y="0"/>
                  <a:pt x="27" y="0"/>
                  <a:pt x="27" y="0"/>
                </a:cubicBezTo>
                <a:cubicBezTo>
                  <a:pt x="27" y="1"/>
                  <a:pt x="27" y="1"/>
                  <a:pt x="27" y="1"/>
                </a:cubicBezTo>
                <a:cubicBezTo>
                  <a:pt x="27" y="2"/>
                  <a:pt x="27" y="2"/>
                  <a:pt x="27" y="2"/>
                </a:cubicBezTo>
                <a:cubicBezTo>
                  <a:pt x="27" y="3"/>
                  <a:pt x="27" y="3"/>
                  <a:pt x="27" y="4"/>
                </a:cubicBezTo>
                <a:cubicBezTo>
                  <a:pt x="27" y="4"/>
                  <a:pt x="27" y="4"/>
                  <a:pt x="27" y="4"/>
                </a:cubicBezTo>
                <a:cubicBezTo>
                  <a:pt x="28" y="6"/>
                  <a:pt x="28" y="6"/>
                  <a:pt x="28" y="6"/>
                </a:cubicBezTo>
                <a:cubicBezTo>
                  <a:pt x="28" y="7"/>
                  <a:pt x="28" y="7"/>
                  <a:pt x="28" y="8"/>
                </a:cubicBezTo>
                <a:cubicBezTo>
                  <a:pt x="28" y="9"/>
                  <a:pt x="28" y="11"/>
                  <a:pt x="29" y="12"/>
                </a:cubicBezTo>
                <a:cubicBezTo>
                  <a:pt x="29" y="13"/>
                  <a:pt x="29" y="13"/>
                  <a:pt x="29" y="13"/>
                </a:cubicBezTo>
                <a:cubicBezTo>
                  <a:pt x="29" y="14"/>
                  <a:pt x="29" y="14"/>
                  <a:pt x="29" y="14"/>
                </a:cubicBezTo>
                <a:cubicBezTo>
                  <a:pt x="29" y="15"/>
                  <a:pt x="29" y="15"/>
                  <a:pt x="29" y="15"/>
                </a:cubicBezTo>
                <a:cubicBezTo>
                  <a:pt x="29" y="16"/>
                  <a:pt x="29" y="17"/>
                  <a:pt x="30" y="18"/>
                </a:cubicBezTo>
                <a:cubicBezTo>
                  <a:pt x="30" y="20"/>
                  <a:pt x="30" y="20"/>
                  <a:pt x="30" y="20"/>
                </a:cubicBezTo>
                <a:cubicBezTo>
                  <a:pt x="30" y="21"/>
                  <a:pt x="30" y="21"/>
                  <a:pt x="30" y="21"/>
                </a:cubicBezTo>
                <a:cubicBezTo>
                  <a:pt x="30" y="21"/>
                  <a:pt x="30" y="21"/>
                  <a:pt x="30" y="21"/>
                </a:cubicBezTo>
                <a:cubicBezTo>
                  <a:pt x="30" y="21"/>
                  <a:pt x="30" y="21"/>
                  <a:pt x="30" y="22"/>
                </a:cubicBezTo>
                <a:cubicBezTo>
                  <a:pt x="30" y="22"/>
                  <a:pt x="30" y="22"/>
                  <a:pt x="30" y="22"/>
                </a:cubicBezTo>
                <a:cubicBezTo>
                  <a:pt x="31" y="23"/>
                  <a:pt x="31" y="23"/>
                  <a:pt x="31" y="24"/>
                </a:cubicBezTo>
                <a:cubicBezTo>
                  <a:pt x="31" y="25"/>
                  <a:pt x="31" y="26"/>
                  <a:pt x="31" y="26"/>
                </a:cubicBezTo>
                <a:cubicBezTo>
                  <a:pt x="31" y="27"/>
                  <a:pt x="32" y="28"/>
                  <a:pt x="32" y="29"/>
                </a:cubicBezTo>
                <a:cubicBezTo>
                  <a:pt x="32" y="30"/>
                  <a:pt x="32" y="31"/>
                  <a:pt x="32" y="32"/>
                </a:cubicBezTo>
                <a:cubicBezTo>
                  <a:pt x="33" y="33"/>
                  <a:pt x="33" y="33"/>
                  <a:pt x="33" y="33"/>
                </a:cubicBezTo>
                <a:cubicBezTo>
                  <a:pt x="33" y="34"/>
                  <a:pt x="33" y="34"/>
                  <a:pt x="33" y="34"/>
                </a:cubicBezTo>
                <a:cubicBezTo>
                  <a:pt x="33" y="35"/>
                  <a:pt x="33" y="35"/>
                  <a:pt x="33" y="35"/>
                </a:cubicBezTo>
                <a:cubicBezTo>
                  <a:pt x="33" y="36"/>
                  <a:pt x="34" y="37"/>
                  <a:pt x="34" y="38"/>
                </a:cubicBezTo>
                <a:cubicBezTo>
                  <a:pt x="34" y="38"/>
                  <a:pt x="34" y="38"/>
                  <a:pt x="34" y="38"/>
                </a:cubicBezTo>
                <a:cubicBezTo>
                  <a:pt x="34" y="38"/>
                  <a:pt x="34" y="38"/>
                  <a:pt x="34" y="38"/>
                </a:cubicBezTo>
                <a:cubicBezTo>
                  <a:pt x="34" y="39"/>
                  <a:pt x="34" y="39"/>
                  <a:pt x="34" y="39"/>
                </a:cubicBezTo>
                <a:cubicBezTo>
                  <a:pt x="34" y="40"/>
                  <a:pt x="34" y="40"/>
                  <a:pt x="34" y="40"/>
                </a:cubicBezTo>
                <a:cubicBezTo>
                  <a:pt x="35" y="41"/>
                  <a:pt x="35" y="41"/>
                  <a:pt x="35" y="41"/>
                </a:cubicBezTo>
                <a:cubicBezTo>
                  <a:pt x="35" y="42"/>
                  <a:pt x="35" y="42"/>
                  <a:pt x="35" y="42"/>
                </a:cubicBezTo>
                <a:cubicBezTo>
                  <a:pt x="35" y="43"/>
                  <a:pt x="35" y="44"/>
                  <a:pt x="36" y="44"/>
                </a:cubicBezTo>
                <a:cubicBezTo>
                  <a:pt x="36" y="44"/>
                  <a:pt x="36" y="44"/>
                  <a:pt x="36" y="44"/>
                </a:cubicBezTo>
                <a:cubicBezTo>
                  <a:pt x="33" y="45"/>
                  <a:pt x="33" y="45"/>
                  <a:pt x="33" y="45"/>
                </a:cubicBezTo>
                <a:cubicBezTo>
                  <a:pt x="33" y="45"/>
                  <a:pt x="33" y="45"/>
                  <a:pt x="33" y="45"/>
                </a:cubicBezTo>
                <a:cubicBezTo>
                  <a:pt x="32" y="45"/>
                  <a:pt x="32" y="45"/>
                  <a:pt x="32" y="45"/>
                </a:cubicBezTo>
                <a:cubicBezTo>
                  <a:pt x="30" y="45"/>
                  <a:pt x="30" y="45"/>
                  <a:pt x="30" y="45"/>
                </a:cubicBezTo>
                <a:cubicBezTo>
                  <a:pt x="29" y="45"/>
                  <a:pt x="29" y="45"/>
                  <a:pt x="29" y="45"/>
                </a:cubicBezTo>
                <a:cubicBezTo>
                  <a:pt x="29" y="45"/>
                  <a:pt x="29" y="45"/>
                  <a:pt x="29" y="45"/>
                </a:cubicBezTo>
                <a:cubicBezTo>
                  <a:pt x="29" y="45"/>
                  <a:pt x="29" y="45"/>
                  <a:pt x="29" y="45"/>
                </a:cubicBezTo>
                <a:cubicBezTo>
                  <a:pt x="29" y="45"/>
                  <a:pt x="29" y="45"/>
                  <a:pt x="29" y="45"/>
                </a:cubicBezTo>
                <a:cubicBezTo>
                  <a:pt x="28" y="45"/>
                  <a:pt x="28" y="45"/>
                  <a:pt x="28" y="45"/>
                </a:cubicBezTo>
                <a:cubicBezTo>
                  <a:pt x="27" y="45"/>
                  <a:pt x="27" y="45"/>
                  <a:pt x="27" y="45"/>
                </a:cubicBezTo>
                <a:cubicBezTo>
                  <a:pt x="26" y="45"/>
                  <a:pt x="26" y="45"/>
                  <a:pt x="26" y="45"/>
                </a:cubicBezTo>
                <a:cubicBezTo>
                  <a:pt x="25" y="45"/>
                  <a:pt x="25" y="45"/>
                  <a:pt x="25" y="45"/>
                </a:cubicBezTo>
                <a:cubicBezTo>
                  <a:pt x="24" y="45"/>
                  <a:pt x="24" y="45"/>
                  <a:pt x="24" y="45"/>
                </a:cubicBezTo>
                <a:cubicBezTo>
                  <a:pt x="23" y="45"/>
                  <a:pt x="23" y="45"/>
                  <a:pt x="23" y="45"/>
                </a:cubicBezTo>
                <a:cubicBezTo>
                  <a:pt x="21" y="45"/>
                  <a:pt x="21" y="45"/>
                  <a:pt x="21" y="45"/>
                </a:cubicBezTo>
                <a:cubicBezTo>
                  <a:pt x="21" y="45"/>
                  <a:pt x="21" y="45"/>
                  <a:pt x="21" y="45"/>
                </a:cubicBezTo>
                <a:cubicBezTo>
                  <a:pt x="21" y="45"/>
                  <a:pt x="21" y="45"/>
                  <a:pt x="21" y="45"/>
                </a:cubicBezTo>
                <a:cubicBezTo>
                  <a:pt x="21" y="45"/>
                  <a:pt x="21" y="45"/>
                  <a:pt x="21" y="45"/>
                </a:cubicBezTo>
                <a:cubicBezTo>
                  <a:pt x="18" y="45"/>
                  <a:pt x="18" y="45"/>
                  <a:pt x="18" y="45"/>
                </a:cubicBezTo>
                <a:cubicBezTo>
                  <a:pt x="18" y="45"/>
                  <a:pt x="18" y="45"/>
                  <a:pt x="18" y="45"/>
                </a:cubicBezTo>
                <a:cubicBezTo>
                  <a:pt x="17" y="45"/>
                  <a:pt x="17" y="45"/>
                  <a:pt x="17" y="45"/>
                </a:cubicBezTo>
                <a:cubicBezTo>
                  <a:pt x="15" y="45"/>
                  <a:pt x="15" y="45"/>
                  <a:pt x="15" y="45"/>
                </a:cubicBezTo>
                <a:cubicBezTo>
                  <a:pt x="14" y="45"/>
                  <a:pt x="14" y="45"/>
                  <a:pt x="14" y="45"/>
                </a:cubicBezTo>
                <a:cubicBezTo>
                  <a:pt x="14" y="45"/>
                  <a:pt x="14" y="45"/>
                  <a:pt x="14" y="45"/>
                </a:cubicBezTo>
                <a:cubicBezTo>
                  <a:pt x="14" y="45"/>
                  <a:pt x="14" y="45"/>
                  <a:pt x="14" y="45"/>
                </a:cubicBezTo>
                <a:cubicBezTo>
                  <a:pt x="13" y="45"/>
                  <a:pt x="13" y="45"/>
                  <a:pt x="13" y="45"/>
                </a:cubicBezTo>
                <a:cubicBezTo>
                  <a:pt x="11" y="45"/>
                  <a:pt x="11" y="45"/>
                  <a:pt x="11" y="45"/>
                </a:cubicBezTo>
                <a:cubicBezTo>
                  <a:pt x="10" y="45"/>
                  <a:pt x="10" y="45"/>
                  <a:pt x="10" y="45"/>
                </a:cubicBezTo>
                <a:cubicBezTo>
                  <a:pt x="8" y="45"/>
                  <a:pt x="8" y="45"/>
                  <a:pt x="8" y="45"/>
                </a:cubicBezTo>
                <a:cubicBezTo>
                  <a:pt x="7" y="45"/>
                  <a:pt x="7" y="45"/>
                  <a:pt x="7" y="45"/>
                </a:cubicBezTo>
                <a:cubicBezTo>
                  <a:pt x="7" y="45"/>
                  <a:pt x="7" y="45"/>
                  <a:pt x="7" y="45"/>
                </a:cubicBezTo>
                <a:cubicBezTo>
                  <a:pt x="7" y="45"/>
                  <a:pt x="7" y="45"/>
                  <a:pt x="7" y="45"/>
                </a:cubicBezTo>
                <a:cubicBezTo>
                  <a:pt x="6" y="45"/>
                  <a:pt x="6" y="45"/>
                  <a:pt x="6" y="45"/>
                </a:cubicBezTo>
                <a:cubicBezTo>
                  <a:pt x="5" y="45"/>
                  <a:pt x="5" y="45"/>
                  <a:pt x="5" y="45"/>
                </a:cubicBezTo>
                <a:cubicBezTo>
                  <a:pt x="4" y="45"/>
                  <a:pt x="4" y="45"/>
                  <a:pt x="4" y="45"/>
                </a:cubicBezTo>
                <a:cubicBezTo>
                  <a:pt x="2" y="45"/>
                  <a:pt x="2" y="45"/>
                  <a:pt x="2" y="45"/>
                </a:cubicBezTo>
                <a:cubicBezTo>
                  <a:pt x="1" y="45"/>
                  <a:pt x="1" y="45"/>
                  <a:pt x="1" y="45"/>
                </a:cubicBezTo>
                <a:cubicBezTo>
                  <a:pt x="0" y="45"/>
                  <a:pt x="0" y="45"/>
                  <a:pt x="0" y="45"/>
                </a:cubicBezTo>
                <a:cubicBezTo>
                  <a:pt x="0" y="44"/>
                  <a:pt x="0" y="44"/>
                  <a:pt x="0" y="44"/>
                </a:cubicBezTo>
                <a:cubicBezTo>
                  <a:pt x="0" y="43"/>
                  <a:pt x="0" y="43"/>
                  <a:pt x="0" y="43"/>
                </a:cubicBezTo>
                <a:cubicBezTo>
                  <a:pt x="1" y="42"/>
                  <a:pt x="1" y="42"/>
                  <a:pt x="1" y="42"/>
                </a:cubicBezTo>
                <a:cubicBezTo>
                  <a:pt x="1" y="41"/>
                  <a:pt x="1" y="41"/>
                  <a:pt x="1" y="41"/>
                </a:cubicBezTo>
                <a:cubicBezTo>
                  <a:pt x="1" y="41"/>
                  <a:pt x="1" y="41"/>
                  <a:pt x="1" y="41"/>
                </a:cubicBezTo>
                <a:cubicBezTo>
                  <a:pt x="1" y="39"/>
                  <a:pt x="1" y="39"/>
                  <a:pt x="1" y="39"/>
                </a:cubicBezTo>
                <a:cubicBezTo>
                  <a:pt x="1" y="38"/>
                  <a:pt x="1" y="38"/>
                  <a:pt x="1" y="38"/>
                </a:cubicBezTo>
                <a:cubicBezTo>
                  <a:pt x="1" y="38"/>
                  <a:pt x="1" y="38"/>
                  <a:pt x="1" y="38"/>
                </a:cubicBezTo>
                <a:cubicBezTo>
                  <a:pt x="1" y="38"/>
                  <a:pt x="1" y="38"/>
                  <a:pt x="1" y="38"/>
                </a:cubicBezTo>
                <a:cubicBezTo>
                  <a:pt x="2" y="37"/>
                  <a:pt x="2" y="37"/>
                  <a:pt x="2" y="37"/>
                </a:cubicBezTo>
                <a:cubicBezTo>
                  <a:pt x="2" y="36"/>
                  <a:pt x="2" y="36"/>
                  <a:pt x="2" y="36"/>
                </a:cubicBezTo>
                <a:cubicBezTo>
                  <a:pt x="2" y="35"/>
                  <a:pt x="2" y="35"/>
                  <a:pt x="2" y="35"/>
                </a:cubicBezTo>
                <a:cubicBezTo>
                  <a:pt x="2" y="33"/>
                  <a:pt x="2" y="33"/>
                  <a:pt x="2" y="33"/>
                </a:cubicBezTo>
                <a:cubicBezTo>
                  <a:pt x="3" y="32"/>
                  <a:pt x="3" y="32"/>
                  <a:pt x="3" y="32"/>
                </a:cubicBezTo>
                <a:cubicBezTo>
                  <a:pt x="3" y="31"/>
                  <a:pt x="3" y="31"/>
                  <a:pt x="3" y="31"/>
                </a:cubicBezTo>
                <a:cubicBezTo>
                  <a:pt x="3" y="30"/>
                  <a:pt x="3" y="30"/>
                  <a:pt x="3" y="30"/>
                </a:cubicBezTo>
                <a:cubicBezTo>
                  <a:pt x="3" y="29"/>
                  <a:pt x="3" y="29"/>
                  <a:pt x="3" y="29"/>
                </a:cubicBezTo>
                <a:cubicBezTo>
                  <a:pt x="4" y="27"/>
                  <a:pt x="4" y="27"/>
                  <a:pt x="4" y="27"/>
                </a:cubicBezTo>
                <a:cubicBezTo>
                  <a:pt x="4" y="26"/>
                  <a:pt x="4" y="26"/>
                  <a:pt x="4" y="26"/>
                </a:cubicBezTo>
                <a:cubicBezTo>
                  <a:pt x="4" y="25"/>
                  <a:pt x="4" y="25"/>
                  <a:pt x="4" y="25"/>
                </a:cubicBezTo>
                <a:cubicBezTo>
                  <a:pt x="4" y="24"/>
                  <a:pt x="4" y="24"/>
                  <a:pt x="4" y="24"/>
                </a:cubicBezTo>
                <a:cubicBezTo>
                  <a:pt x="4" y="23"/>
                  <a:pt x="4" y="23"/>
                  <a:pt x="4" y="23"/>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92500"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316" name="iŝľíḓe">
            <a:extLst>
              <a:ext uri="{FF2B5EF4-FFF2-40B4-BE49-F238E27FC236}">
                <a16:creationId xmlns:a16="http://schemas.microsoft.com/office/drawing/2014/main" id="{B77740B2-7B50-4B1C-A46C-6C4B78C3915D}"/>
              </a:ext>
            </a:extLst>
          </p:cNvPr>
          <p:cNvSpPr/>
          <p:nvPr/>
        </p:nvSpPr>
        <p:spPr bwMode="auto">
          <a:xfrm>
            <a:off x="11448151" y="6609682"/>
            <a:ext cx="13304" cy="31042"/>
          </a:xfrm>
          <a:custGeom>
            <a:avLst/>
            <a:gdLst>
              <a:gd name="T0" fmla="*/ 0 w 3"/>
              <a:gd name="T1" fmla="*/ 0 h 7"/>
              <a:gd name="T2" fmla="*/ 0 w 3"/>
              <a:gd name="T3" fmla="*/ 0 h 7"/>
              <a:gd name="T4" fmla="*/ 2 w 3"/>
              <a:gd name="T5" fmla="*/ 2 h 7"/>
              <a:gd name="T6" fmla="*/ 3 w 3"/>
              <a:gd name="T7" fmla="*/ 2 h 7"/>
              <a:gd name="T8" fmla="*/ 3 w 3"/>
              <a:gd name="T9" fmla="*/ 3 h 7"/>
              <a:gd name="T10" fmla="*/ 3 w 3"/>
              <a:gd name="T11" fmla="*/ 3 h 7"/>
              <a:gd name="T12" fmla="*/ 2 w 3"/>
              <a:gd name="T13" fmla="*/ 5 h 7"/>
              <a:gd name="T14" fmla="*/ 0 w 3"/>
              <a:gd name="T15" fmla="*/ 7 h 7"/>
              <a:gd name="T16" fmla="*/ 0 w 3"/>
              <a:gd name="T17" fmla="*/ 3 h 7"/>
              <a:gd name="T18" fmla="*/ 0 w 3"/>
              <a:gd name="T19" fmla="*/ 2 h 7"/>
              <a:gd name="T20" fmla="*/ 0 w 3"/>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7">
                <a:moveTo>
                  <a:pt x="0" y="0"/>
                </a:moveTo>
                <a:lnTo>
                  <a:pt x="0" y="0"/>
                </a:lnTo>
                <a:lnTo>
                  <a:pt x="2" y="2"/>
                </a:lnTo>
                <a:lnTo>
                  <a:pt x="3" y="2"/>
                </a:lnTo>
                <a:lnTo>
                  <a:pt x="3" y="3"/>
                </a:lnTo>
                <a:lnTo>
                  <a:pt x="3" y="3"/>
                </a:lnTo>
                <a:lnTo>
                  <a:pt x="2" y="5"/>
                </a:lnTo>
                <a:lnTo>
                  <a:pt x="0" y="7"/>
                </a:lnTo>
                <a:lnTo>
                  <a:pt x="0" y="3"/>
                </a:lnTo>
                <a:lnTo>
                  <a:pt x="0" y="2"/>
                </a:lnTo>
                <a:lnTo>
                  <a:pt x="0"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317" name="îšľiďe">
            <a:extLst>
              <a:ext uri="{FF2B5EF4-FFF2-40B4-BE49-F238E27FC236}">
                <a16:creationId xmlns:a16="http://schemas.microsoft.com/office/drawing/2014/main" id="{0BC0114C-18A6-4426-911C-64688C175E8A}"/>
              </a:ext>
            </a:extLst>
          </p:cNvPr>
          <p:cNvSpPr/>
          <p:nvPr/>
        </p:nvSpPr>
        <p:spPr bwMode="auto">
          <a:xfrm>
            <a:off x="11346161" y="6587509"/>
            <a:ext cx="31042" cy="22173"/>
          </a:xfrm>
          <a:custGeom>
            <a:avLst/>
            <a:gdLst>
              <a:gd name="T0" fmla="*/ 0 w 7"/>
              <a:gd name="T1" fmla="*/ 0 h 5"/>
              <a:gd name="T2" fmla="*/ 0 w 7"/>
              <a:gd name="T3" fmla="*/ 0 h 5"/>
              <a:gd name="T4" fmla="*/ 2 w 7"/>
              <a:gd name="T5" fmla="*/ 0 h 5"/>
              <a:gd name="T6" fmla="*/ 4 w 7"/>
              <a:gd name="T7" fmla="*/ 0 h 5"/>
              <a:gd name="T8" fmla="*/ 5 w 7"/>
              <a:gd name="T9" fmla="*/ 0 h 5"/>
              <a:gd name="T10" fmla="*/ 7 w 7"/>
              <a:gd name="T11" fmla="*/ 0 h 5"/>
              <a:gd name="T12" fmla="*/ 7 w 7"/>
              <a:gd name="T13" fmla="*/ 2 h 5"/>
              <a:gd name="T14" fmla="*/ 5 w 7"/>
              <a:gd name="T15" fmla="*/ 3 h 5"/>
              <a:gd name="T16" fmla="*/ 5 w 7"/>
              <a:gd name="T17" fmla="*/ 3 h 5"/>
              <a:gd name="T18" fmla="*/ 4 w 7"/>
              <a:gd name="T19" fmla="*/ 5 h 5"/>
              <a:gd name="T20" fmla="*/ 4 w 7"/>
              <a:gd name="T21" fmla="*/ 5 h 5"/>
              <a:gd name="T22" fmla="*/ 4 w 7"/>
              <a:gd name="T23" fmla="*/ 5 h 5"/>
              <a:gd name="T24" fmla="*/ 4 w 7"/>
              <a:gd name="T25" fmla="*/ 3 h 5"/>
              <a:gd name="T26" fmla="*/ 0 w 7"/>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5">
                <a:moveTo>
                  <a:pt x="0" y="0"/>
                </a:moveTo>
                <a:lnTo>
                  <a:pt x="0" y="0"/>
                </a:lnTo>
                <a:lnTo>
                  <a:pt x="2" y="0"/>
                </a:lnTo>
                <a:lnTo>
                  <a:pt x="4" y="0"/>
                </a:lnTo>
                <a:lnTo>
                  <a:pt x="5" y="0"/>
                </a:lnTo>
                <a:lnTo>
                  <a:pt x="7" y="0"/>
                </a:lnTo>
                <a:lnTo>
                  <a:pt x="7" y="2"/>
                </a:lnTo>
                <a:lnTo>
                  <a:pt x="5" y="3"/>
                </a:lnTo>
                <a:lnTo>
                  <a:pt x="5" y="3"/>
                </a:lnTo>
                <a:lnTo>
                  <a:pt x="4" y="5"/>
                </a:lnTo>
                <a:lnTo>
                  <a:pt x="4" y="5"/>
                </a:lnTo>
                <a:lnTo>
                  <a:pt x="4" y="5"/>
                </a:lnTo>
                <a:lnTo>
                  <a:pt x="4" y="3"/>
                </a:lnTo>
                <a:lnTo>
                  <a:pt x="0"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318" name="îṥḷíḍê">
            <a:extLst>
              <a:ext uri="{FF2B5EF4-FFF2-40B4-BE49-F238E27FC236}">
                <a16:creationId xmlns:a16="http://schemas.microsoft.com/office/drawing/2014/main" id="{8A09B1BC-4218-47BB-81C3-68E3368B7B31}"/>
              </a:ext>
            </a:extLst>
          </p:cNvPr>
          <p:cNvSpPr/>
          <p:nvPr/>
        </p:nvSpPr>
        <p:spPr bwMode="auto">
          <a:xfrm>
            <a:off x="11403808" y="6667326"/>
            <a:ext cx="31042" cy="22173"/>
          </a:xfrm>
          <a:custGeom>
            <a:avLst/>
            <a:gdLst>
              <a:gd name="T0" fmla="*/ 5 w 7"/>
              <a:gd name="T1" fmla="*/ 0 h 5"/>
              <a:gd name="T2" fmla="*/ 5 w 7"/>
              <a:gd name="T3" fmla="*/ 0 h 5"/>
              <a:gd name="T4" fmla="*/ 7 w 7"/>
              <a:gd name="T5" fmla="*/ 0 h 5"/>
              <a:gd name="T6" fmla="*/ 7 w 7"/>
              <a:gd name="T7" fmla="*/ 0 h 5"/>
              <a:gd name="T8" fmla="*/ 5 w 7"/>
              <a:gd name="T9" fmla="*/ 0 h 5"/>
              <a:gd name="T10" fmla="*/ 4 w 7"/>
              <a:gd name="T11" fmla="*/ 3 h 5"/>
              <a:gd name="T12" fmla="*/ 4 w 7"/>
              <a:gd name="T13" fmla="*/ 3 h 5"/>
              <a:gd name="T14" fmla="*/ 4 w 7"/>
              <a:gd name="T15" fmla="*/ 5 h 5"/>
              <a:gd name="T16" fmla="*/ 2 w 7"/>
              <a:gd name="T17" fmla="*/ 2 h 5"/>
              <a:gd name="T18" fmla="*/ 0 w 7"/>
              <a:gd name="T19" fmla="*/ 0 h 5"/>
              <a:gd name="T20" fmla="*/ 0 w 7"/>
              <a:gd name="T21" fmla="*/ 0 h 5"/>
              <a:gd name="T22" fmla="*/ 5 w 7"/>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5">
                <a:moveTo>
                  <a:pt x="5" y="0"/>
                </a:moveTo>
                <a:lnTo>
                  <a:pt x="5" y="0"/>
                </a:lnTo>
                <a:lnTo>
                  <a:pt x="7" y="0"/>
                </a:lnTo>
                <a:lnTo>
                  <a:pt x="7" y="0"/>
                </a:lnTo>
                <a:lnTo>
                  <a:pt x="5" y="0"/>
                </a:lnTo>
                <a:lnTo>
                  <a:pt x="4" y="3"/>
                </a:lnTo>
                <a:lnTo>
                  <a:pt x="4" y="3"/>
                </a:lnTo>
                <a:lnTo>
                  <a:pt x="4" y="5"/>
                </a:lnTo>
                <a:lnTo>
                  <a:pt x="2" y="2"/>
                </a:lnTo>
                <a:lnTo>
                  <a:pt x="0" y="0"/>
                </a:lnTo>
                <a:lnTo>
                  <a:pt x="0" y="0"/>
                </a:lnTo>
                <a:lnTo>
                  <a:pt x="5"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1319" name="ïṧļiḑè">
            <a:extLst>
              <a:ext uri="{FF2B5EF4-FFF2-40B4-BE49-F238E27FC236}">
                <a16:creationId xmlns:a16="http://schemas.microsoft.com/office/drawing/2014/main" id="{5D371CC9-A1FD-43A2-BC44-E9445B58CD05}"/>
              </a:ext>
            </a:extLst>
          </p:cNvPr>
          <p:cNvSpPr/>
          <p:nvPr/>
        </p:nvSpPr>
        <p:spPr bwMode="auto">
          <a:xfrm>
            <a:off x="11261912" y="6756011"/>
            <a:ext cx="22173" cy="35474"/>
          </a:xfrm>
          <a:custGeom>
            <a:avLst/>
            <a:gdLst>
              <a:gd name="T0" fmla="*/ 2 w 5"/>
              <a:gd name="T1" fmla="*/ 3 h 8"/>
              <a:gd name="T2" fmla="*/ 3 w 5"/>
              <a:gd name="T3" fmla="*/ 1 h 8"/>
              <a:gd name="T4" fmla="*/ 5 w 5"/>
              <a:gd name="T5" fmla="*/ 0 h 8"/>
              <a:gd name="T6" fmla="*/ 5 w 5"/>
              <a:gd name="T7" fmla="*/ 0 h 8"/>
              <a:gd name="T8" fmla="*/ 5 w 5"/>
              <a:gd name="T9" fmla="*/ 0 h 8"/>
              <a:gd name="T10" fmla="*/ 5 w 5"/>
              <a:gd name="T11" fmla="*/ 3 h 8"/>
              <a:gd name="T12" fmla="*/ 5 w 5"/>
              <a:gd name="T13" fmla="*/ 5 h 8"/>
              <a:gd name="T14" fmla="*/ 3 w 5"/>
              <a:gd name="T15" fmla="*/ 5 h 8"/>
              <a:gd name="T16" fmla="*/ 2 w 5"/>
              <a:gd name="T17" fmla="*/ 6 h 8"/>
              <a:gd name="T18" fmla="*/ 0 w 5"/>
              <a:gd name="T19" fmla="*/ 8 h 8"/>
              <a:gd name="T20" fmla="*/ 0 w 5"/>
              <a:gd name="T21" fmla="*/ 6 h 8"/>
              <a:gd name="T22" fmla="*/ 2 w 5"/>
              <a:gd name="T2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8">
                <a:moveTo>
                  <a:pt x="2" y="3"/>
                </a:moveTo>
                <a:lnTo>
                  <a:pt x="3" y="1"/>
                </a:lnTo>
                <a:lnTo>
                  <a:pt x="5" y="0"/>
                </a:lnTo>
                <a:lnTo>
                  <a:pt x="5" y="0"/>
                </a:lnTo>
                <a:lnTo>
                  <a:pt x="5" y="0"/>
                </a:lnTo>
                <a:lnTo>
                  <a:pt x="5" y="3"/>
                </a:lnTo>
                <a:lnTo>
                  <a:pt x="5" y="5"/>
                </a:lnTo>
                <a:lnTo>
                  <a:pt x="3" y="5"/>
                </a:lnTo>
                <a:lnTo>
                  <a:pt x="2" y="6"/>
                </a:lnTo>
                <a:lnTo>
                  <a:pt x="0" y="8"/>
                </a:lnTo>
                <a:lnTo>
                  <a:pt x="0" y="6"/>
                </a:lnTo>
                <a:lnTo>
                  <a:pt x="2" y="3"/>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ym typeface="+mn-lt"/>
            </a:endParaRPr>
          </a:p>
        </p:txBody>
      </p:sp>
      <p:sp>
        <p:nvSpPr>
          <p:cNvPr id="244" name="îṩ1îḑe">
            <a:extLst>
              <a:ext uri="{FF2B5EF4-FFF2-40B4-BE49-F238E27FC236}">
                <a16:creationId xmlns:a16="http://schemas.microsoft.com/office/drawing/2014/main" id="{9C676C76-7423-464B-9C6C-F7ABAF8E0419}"/>
              </a:ext>
            </a:extLst>
          </p:cNvPr>
          <p:cNvSpPr txBox="1"/>
          <p:nvPr/>
        </p:nvSpPr>
        <p:spPr bwMode="auto">
          <a:xfrm>
            <a:off x="388893" y="1767110"/>
            <a:ext cx="4964479" cy="889592"/>
          </a:xfrm>
          <a:prstGeom prst="rect">
            <a:avLst/>
          </a:prstGeom>
          <a:noFill/>
          <a:ln>
            <a:noFill/>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hangingPunct="1">
              <a:lnSpc>
                <a:spcPct val="100000"/>
              </a:lnSpc>
              <a:spcBef>
                <a:spcPct val="0"/>
              </a:spcBef>
            </a:pPr>
            <a:r>
              <a:rPr lang="en-US" altLang="zh-CN" sz="2400" b="1" i="1" u="sng" dirty="0"/>
              <a:t>01.</a:t>
            </a:r>
            <a:r>
              <a:rPr lang="en-US" altLang="zh-CN" sz="2000" b="1" i="1" u="sng" dirty="0"/>
              <a:t>Role-based</a:t>
            </a:r>
            <a:r>
              <a:rPr lang="en-US" altLang="zh-CN" sz="2400" b="1" i="1" u="sng" dirty="0"/>
              <a:t> access control</a:t>
            </a:r>
          </a:p>
        </p:txBody>
      </p:sp>
      <p:sp>
        <p:nvSpPr>
          <p:cNvPr id="5" name="文本框 4">
            <a:extLst>
              <a:ext uri="{FF2B5EF4-FFF2-40B4-BE49-F238E27FC236}">
                <a16:creationId xmlns:a16="http://schemas.microsoft.com/office/drawing/2014/main" id="{79D6625D-0BDB-4034-B138-38822434E6C7}"/>
              </a:ext>
            </a:extLst>
          </p:cNvPr>
          <p:cNvSpPr txBox="1"/>
          <p:nvPr/>
        </p:nvSpPr>
        <p:spPr>
          <a:xfrm>
            <a:off x="669924" y="2755557"/>
            <a:ext cx="3532647" cy="1477328"/>
          </a:xfrm>
          <a:prstGeom prst="rect">
            <a:avLst/>
          </a:prstGeom>
          <a:noFill/>
        </p:spPr>
        <p:txBody>
          <a:bodyPr wrap="square" rtlCol="0">
            <a:spAutoFit/>
          </a:bodyPr>
          <a:lstStyle/>
          <a:p>
            <a:r>
              <a:rPr lang="en-US" altLang="zh-CN" sz="1800" dirty="0">
                <a:ea typeface="宋体" panose="02010600030101010101" pitchFamily="2" charset="-122"/>
              </a:rPr>
              <a:t>In the proposed model, smart contract assigns users with different roles associated with different functions and privileges.</a:t>
            </a:r>
            <a:endParaRPr lang="zh-CN" altLang="en-US" sz="1800" dirty="0">
              <a:ea typeface="宋体" panose="02010600030101010101" pitchFamily="2" charset="-122"/>
            </a:endParaRPr>
          </a:p>
          <a:p>
            <a:endParaRPr lang="zh-CN" altLang="en-US" dirty="0"/>
          </a:p>
        </p:txBody>
      </p:sp>
      <p:cxnSp>
        <p:nvCxnSpPr>
          <p:cNvPr id="7" name="直接连接符 6">
            <a:extLst>
              <a:ext uri="{FF2B5EF4-FFF2-40B4-BE49-F238E27FC236}">
                <a16:creationId xmlns:a16="http://schemas.microsoft.com/office/drawing/2014/main" id="{B03F4B26-116E-4746-95C2-ADC926A82360}"/>
              </a:ext>
            </a:extLst>
          </p:cNvPr>
          <p:cNvCxnSpPr/>
          <p:nvPr/>
        </p:nvCxnSpPr>
        <p:spPr>
          <a:xfrm>
            <a:off x="5671751" y="1787007"/>
            <a:ext cx="0" cy="3816097"/>
          </a:xfrm>
          <a:prstGeom prst="line">
            <a:avLst/>
          </a:prstGeom>
        </p:spPr>
        <p:style>
          <a:lnRef idx="1">
            <a:schemeClr val="accent1"/>
          </a:lnRef>
          <a:fillRef idx="0">
            <a:schemeClr val="accent1"/>
          </a:fillRef>
          <a:effectRef idx="0">
            <a:schemeClr val="accent1"/>
          </a:effectRef>
          <a:fontRef idx="minor">
            <a:schemeClr val="tx1"/>
          </a:fontRef>
        </p:style>
      </p:cxnSp>
      <p:sp>
        <p:nvSpPr>
          <p:cNvPr id="248" name="îṩ1îḑe">
            <a:extLst>
              <a:ext uri="{FF2B5EF4-FFF2-40B4-BE49-F238E27FC236}">
                <a16:creationId xmlns:a16="http://schemas.microsoft.com/office/drawing/2014/main" id="{F1F2F49C-681D-474C-B7E5-50347A6418E8}"/>
              </a:ext>
            </a:extLst>
          </p:cNvPr>
          <p:cNvSpPr txBox="1"/>
          <p:nvPr/>
        </p:nvSpPr>
        <p:spPr bwMode="auto">
          <a:xfrm>
            <a:off x="6253089" y="1767110"/>
            <a:ext cx="4964479" cy="889592"/>
          </a:xfrm>
          <a:prstGeom prst="rect">
            <a:avLst/>
          </a:prstGeom>
          <a:noFill/>
          <a:ln>
            <a:noFill/>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hangingPunct="1">
              <a:lnSpc>
                <a:spcPct val="100000"/>
              </a:lnSpc>
              <a:spcBef>
                <a:spcPct val="0"/>
              </a:spcBef>
            </a:pPr>
            <a:r>
              <a:rPr lang="en-US" altLang="zh-CN" sz="2400" b="1" i="1" u="sng" dirty="0"/>
              <a:t>02.</a:t>
            </a:r>
            <a:r>
              <a:rPr lang="en-US" altLang="zh-CN" sz="2000" b="1" i="1" u="sng" dirty="0"/>
              <a:t>Decentralization</a:t>
            </a:r>
            <a:endParaRPr lang="en-US" altLang="zh-CN" sz="2400" b="1" i="1" u="sng" dirty="0"/>
          </a:p>
        </p:txBody>
      </p:sp>
      <p:sp>
        <p:nvSpPr>
          <p:cNvPr id="8" name="文本框 7">
            <a:extLst>
              <a:ext uri="{FF2B5EF4-FFF2-40B4-BE49-F238E27FC236}">
                <a16:creationId xmlns:a16="http://schemas.microsoft.com/office/drawing/2014/main" id="{66394773-8E2C-4FD0-9F96-4F43BE4CA857}"/>
              </a:ext>
            </a:extLst>
          </p:cNvPr>
          <p:cNvSpPr txBox="1"/>
          <p:nvPr/>
        </p:nvSpPr>
        <p:spPr>
          <a:xfrm>
            <a:off x="6253089" y="2740213"/>
            <a:ext cx="3904164" cy="2585323"/>
          </a:xfrm>
          <a:prstGeom prst="rect">
            <a:avLst/>
          </a:prstGeom>
          <a:noFill/>
        </p:spPr>
        <p:txBody>
          <a:bodyPr wrap="square" rtlCol="0">
            <a:spAutoFit/>
          </a:bodyPr>
          <a:lstStyle/>
          <a:p>
            <a:r>
              <a:rPr lang="en-US" altLang="zh-CN" sz="1800" dirty="0">
                <a:latin typeface="+mj-lt"/>
                <a:ea typeface="宋体" panose="02010600030101010101" pitchFamily="2" charset="-122"/>
              </a:rPr>
              <a:t>The data is decentralized both on and off chain, through blockchain and IPFS, both of which involve peer-to-peer verification and eliminate central control. This removes single point of failure and</a:t>
            </a:r>
          </a:p>
          <a:p>
            <a:r>
              <a:rPr lang="en-US" altLang="zh-CN" sz="1800" dirty="0">
                <a:latin typeface="+mj-lt"/>
                <a:ea typeface="宋体" panose="02010600030101010101" pitchFamily="2" charset="-122"/>
              </a:rPr>
              <a:t>more importantly, eliminates trust from central authority.</a:t>
            </a:r>
            <a:endParaRPr lang="zh-CN" altLang="en-US" sz="1800" dirty="0">
              <a:latin typeface="+mj-lt"/>
              <a:ea typeface="宋体" panose="02010600030101010101" pitchFamily="2" charset="-122"/>
            </a:endParaRPr>
          </a:p>
          <a:p>
            <a:endParaRPr lang="zh-CN" altLang="en-US" dirty="0">
              <a:latin typeface="+mj-lt"/>
            </a:endParaRPr>
          </a:p>
        </p:txBody>
      </p:sp>
    </p:spTree>
    <p:custDataLst>
      <p:tags r:id="rId1"/>
    </p:custDataLst>
    <p:extLst>
      <p:ext uri="{BB962C8B-B14F-4D97-AF65-F5344CB8AC3E}">
        <p14:creationId xmlns:p14="http://schemas.microsoft.com/office/powerpoint/2010/main" val="28298767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işḻiḍê"/>
        <p:cNvGrpSpPr/>
        <p:nvPr/>
      </p:nvGrpSpPr>
      <p:grpSpPr>
        <a:xfrm>
          <a:off x="0" y="0"/>
          <a:ext cx="0" cy="0"/>
          <a:chOff x="0" y="0"/>
          <a:chExt cx="0" cy="0"/>
        </a:xfrm>
      </p:grpSpPr>
      <p:sp>
        <p:nvSpPr>
          <p:cNvPr id="2" name="î$ľîḍé">
            <a:extLst>
              <a:ext uri="{FF2B5EF4-FFF2-40B4-BE49-F238E27FC236}">
                <a16:creationId xmlns:a16="http://schemas.microsoft.com/office/drawing/2014/main" id="{16AE0D85-EAA1-4BCA-B474-1A8AAB1A7E6D}"/>
              </a:ext>
            </a:extLst>
          </p:cNvPr>
          <p:cNvSpPr>
            <a:spLocks noGrp="1"/>
          </p:cNvSpPr>
          <p:nvPr>
            <p:ph type="title"/>
          </p:nvPr>
        </p:nvSpPr>
        <p:spPr/>
        <p:txBody>
          <a:bodyPr/>
          <a:lstStyle/>
          <a:p>
            <a:r>
              <a:rPr lang="en-US" altLang="zh-CN" dirty="0"/>
              <a:t>Performance analysis</a:t>
            </a:r>
            <a:endParaRPr lang="zh-CN" altLang="en-US" dirty="0"/>
          </a:p>
        </p:txBody>
      </p:sp>
      <p:sp>
        <p:nvSpPr>
          <p:cNvPr id="3" name="îŝļîdé">
            <a:extLst>
              <a:ext uri="{FF2B5EF4-FFF2-40B4-BE49-F238E27FC236}">
                <a16:creationId xmlns:a16="http://schemas.microsoft.com/office/drawing/2014/main" id="{54180C41-8BC4-4AEC-B2DA-9547BF407274}"/>
              </a:ext>
            </a:extLst>
          </p:cNvPr>
          <p:cNvSpPr>
            <a:spLocks noGrp="1"/>
          </p:cNvSpPr>
          <p:nvPr>
            <p:ph type="ftr" sz="quarter" idx="11"/>
          </p:nvPr>
        </p:nvSpPr>
        <p:spPr/>
        <p:txBody>
          <a:bodyPr/>
          <a:lstStyle/>
          <a:p>
            <a:r>
              <a:rPr lang="zh-CN" altLang="en-US"/>
              <a:t>请在插入菜单</a:t>
            </a:r>
            <a:r>
              <a:rPr lang="zh-CN" altLang="en-US" sz="100"/>
              <a:t> </a:t>
            </a:r>
            <a:r>
              <a:rPr lang="en-US" altLang="zh-CN"/>
              <a:t>—</a:t>
            </a:r>
            <a:r>
              <a:rPr lang="zh-CN" altLang="en-US"/>
              <a:t>页眉和页脚中修改此文本</a:t>
            </a:r>
            <a:endParaRPr lang="zh-CN" altLang="en-US" dirty="0"/>
          </a:p>
        </p:txBody>
      </p:sp>
      <p:sp>
        <p:nvSpPr>
          <p:cNvPr id="4" name="ïṥḻiḑé">
            <a:extLst>
              <a:ext uri="{FF2B5EF4-FFF2-40B4-BE49-F238E27FC236}">
                <a16:creationId xmlns:a16="http://schemas.microsoft.com/office/drawing/2014/main" id="{FACD26BA-1180-4ED0-9175-6BEEDEDAF2E4}"/>
              </a:ext>
            </a:extLst>
          </p:cNvPr>
          <p:cNvSpPr>
            <a:spLocks noGrp="1"/>
          </p:cNvSpPr>
          <p:nvPr>
            <p:ph type="sldNum" sz="quarter" idx="12"/>
          </p:nvPr>
        </p:nvSpPr>
        <p:spPr/>
        <p:txBody>
          <a:bodyPr/>
          <a:lstStyle/>
          <a:p>
            <a:fld id="{5DD3DB80-B894-403A-B48E-6FDC1A72010E}" type="slidenum">
              <a:rPr lang="zh-CN" altLang="en-US" smtClean="0"/>
              <a:pPr/>
              <a:t>18</a:t>
            </a:fld>
            <a:endParaRPr lang="zh-CN" altLang="en-US"/>
          </a:p>
        </p:txBody>
      </p:sp>
      <p:pic>
        <p:nvPicPr>
          <p:cNvPr id="9" name="图片 8">
            <a:extLst>
              <a:ext uri="{FF2B5EF4-FFF2-40B4-BE49-F238E27FC236}">
                <a16:creationId xmlns:a16="http://schemas.microsoft.com/office/drawing/2014/main" id="{8F8767E2-21BE-4011-82C5-7184EE427A02}"/>
              </a:ext>
            </a:extLst>
          </p:cNvPr>
          <p:cNvPicPr>
            <a:picLocks noChangeAspect="1"/>
          </p:cNvPicPr>
          <p:nvPr/>
        </p:nvPicPr>
        <p:blipFill>
          <a:blip r:embed="rId4"/>
          <a:stretch>
            <a:fillRect/>
          </a:stretch>
        </p:blipFill>
        <p:spPr>
          <a:xfrm>
            <a:off x="669924" y="1511296"/>
            <a:ext cx="5533324" cy="1701462"/>
          </a:xfrm>
          <a:prstGeom prst="rect">
            <a:avLst/>
          </a:prstGeom>
        </p:spPr>
      </p:pic>
      <p:pic>
        <p:nvPicPr>
          <p:cNvPr id="11" name="图片 10">
            <a:extLst>
              <a:ext uri="{FF2B5EF4-FFF2-40B4-BE49-F238E27FC236}">
                <a16:creationId xmlns:a16="http://schemas.microsoft.com/office/drawing/2014/main" id="{F6D883AA-4590-4752-936B-B89FEFDE41A4}"/>
              </a:ext>
            </a:extLst>
          </p:cNvPr>
          <p:cNvPicPr>
            <a:picLocks noChangeAspect="1"/>
          </p:cNvPicPr>
          <p:nvPr/>
        </p:nvPicPr>
        <p:blipFill>
          <a:blip r:embed="rId5"/>
          <a:stretch>
            <a:fillRect/>
          </a:stretch>
        </p:blipFill>
        <p:spPr>
          <a:xfrm>
            <a:off x="669924" y="3428999"/>
            <a:ext cx="5577518" cy="2403389"/>
          </a:xfrm>
          <a:prstGeom prst="rect">
            <a:avLst/>
          </a:prstGeom>
        </p:spPr>
      </p:pic>
      <p:sp>
        <p:nvSpPr>
          <p:cNvPr id="12" name="文本框 11">
            <a:extLst>
              <a:ext uri="{FF2B5EF4-FFF2-40B4-BE49-F238E27FC236}">
                <a16:creationId xmlns:a16="http://schemas.microsoft.com/office/drawing/2014/main" id="{989A1FB7-E450-41F4-A1F5-1DD61483C488}"/>
              </a:ext>
            </a:extLst>
          </p:cNvPr>
          <p:cNvSpPr txBox="1"/>
          <p:nvPr/>
        </p:nvSpPr>
        <p:spPr>
          <a:xfrm>
            <a:off x="6512013" y="1767016"/>
            <a:ext cx="5008474" cy="3970318"/>
          </a:xfrm>
          <a:prstGeom prst="rect">
            <a:avLst/>
          </a:prstGeom>
          <a:noFill/>
        </p:spPr>
        <p:txBody>
          <a:bodyPr wrap="square" rtlCol="0">
            <a:spAutoFit/>
          </a:bodyPr>
          <a:lstStyle/>
          <a:p>
            <a:r>
              <a:rPr lang="en-US" altLang="zh-CN" dirty="0">
                <a:effectLst/>
                <a:latin typeface="Arial" panose="020B0604020202020204" pitchFamily="34" charset="0"/>
              </a:rPr>
              <a:t>Although larger files start to load at around 5 to 7 seconds, the full image can sometimes take as long as 1 minute to show up on screen. The gathered data has been illustrated in the form of a chart in the second picture. From the chart, it is evident that file size and latency are directly proportional, the bigger the file, the longer it takes to retrieve. However, it is also seen that, retrieval of the same files from IPFS the second time is significantly a lot faster because IPFS caches the data locally after the first delivery, thus, reducing the latency. Either way, improvements need to be made to retrieve larger files quicker.</a:t>
            </a:r>
            <a:endParaRPr lang="zh-CN" altLang="en-US" dirty="0"/>
          </a:p>
        </p:txBody>
      </p:sp>
    </p:spTree>
    <p:custDataLst>
      <p:tags r:id="rId1"/>
    </p:custDataLst>
    <p:extLst>
      <p:ext uri="{BB962C8B-B14F-4D97-AF65-F5344CB8AC3E}">
        <p14:creationId xmlns:p14="http://schemas.microsoft.com/office/powerpoint/2010/main" val="3829812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íŝḻiḋê"/>
        <p:cNvGrpSpPr/>
        <p:nvPr/>
      </p:nvGrpSpPr>
      <p:grpSpPr>
        <a:xfrm>
          <a:off x="0" y="0"/>
          <a:ext cx="0" cy="0"/>
          <a:chOff x="0" y="0"/>
          <a:chExt cx="0" cy="0"/>
        </a:xfrm>
      </p:grpSpPr>
      <p:sp>
        <p:nvSpPr>
          <p:cNvPr id="5" name="îşļídè"/>
          <p:cNvSpPr>
            <a:spLocks noGrp="1"/>
          </p:cNvSpPr>
          <p:nvPr>
            <p:ph type="title"/>
          </p:nvPr>
        </p:nvSpPr>
        <p:spPr>
          <a:xfrm>
            <a:off x="2400300" y="3429000"/>
            <a:ext cx="7391400" cy="895350"/>
          </a:xfrm>
        </p:spPr>
        <p:txBody>
          <a:bodyPr>
            <a:normAutofit/>
          </a:bodyPr>
          <a:lstStyle/>
          <a:p>
            <a:pPr lvl="0" algn="ctr" fontAlgn="base">
              <a:spcBef>
                <a:spcPct val="0"/>
              </a:spcBef>
              <a:spcAft>
                <a:spcPct val="0"/>
              </a:spcAft>
              <a:tabLst>
                <a:tab pos="227965" algn="l"/>
              </a:tabLst>
              <a:defRPr/>
            </a:pPr>
            <a:r>
              <a:rPr lang="en-US" altLang="zh-CN" sz="4000" b="1" dirty="0">
                <a:sym typeface="+mn-lt"/>
              </a:rPr>
              <a:t>Conclusions</a:t>
            </a:r>
          </a:p>
        </p:txBody>
      </p:sp>
      <p:sp>
        <p:nvSpPr>
          <p:cNvPr id="9" name="ïsliḋé">
            <a:extLst>
              <a:ext uri="{FF2B5EF4-FFF2-40B4-BE49-F238E27FC236}">
                <a16:creationId xmlns:a16="http://schemas.microsoft.com/office/drawing/2014/main" id="{04F69230-F3A6-4586-9371-A858F4763E9F}"/>
              </a:ext>
            </a:extLst>
          </p:cNvPr>
          <p:cNvSpPr txBox="1"/>
          <p:nvPr/>
        </p:nvSpPr>
        <p:spPr>
          <a:xfrm>
            <a:off x="5623932" y="1816100"/>
            <a:ext cx="944136" cy="778380"/>
          </a:xfrm>
          <a:prstGeom prst="rect">
            <a:avLst/>
          </a:prstGeom>
          <a:noFill/>
          <a:ln w="117475">
            <a:noFill/>
          </a:ln>
        </p:spPr>
        <p:txBody>
          <a:bodyPr wrap="none" rtlCol="0">
            <a:prstTxWarp prst="textPlain">
              <a:avLst/>
            </a:prstTxWarp>
            <a:spAutoFit/>
          </a:bodyPr>
          <a:lstStyle/>
          <a:p>
            <a:r>
              <a:rPr lang="en-US" altLang="zh-CN" b="1" spc="-150" dirty="0">
                <a:solidFill>
                  <a:schemeClr val="bg1"/>
                </a:solidFill>
                <a:cs typeface="Arial" panose="020B0604020202020204" pitchFamily="34" charset="0"/>
                <a:sym typeface="+mn-lt"/>
              </a:rPr>
              <a:t>0</a:t>
            </a:r>
            <a:r>
              <a:rPr lang="en-US" altLang="zh-CN" sz="100" b="1" spc="-150" dirty="0">
                <a:solidFill>
                  <a:schemeClr val="bg1"/>
                </a:solidFill>
                <a:cs typeface="Arial" panose="020B0604020202020204" pitchFamily="34" charset="0"/>
                <a:sym typeface="+mn-lt"/>
              </a:rPr>
              <a:t> </a:t>
            </a:r>
            <a:r>
              <a:rPr lang="en-US" altLang="zh-CN" b="1" spc="-150" dirty="0">
                <a:solidFill>
                  <a:schemeClr val="bg1"/>
                </a:solidFill>
                <a:cs typeface="Arial" panose="020B0604020202020204" pitchFamily="34" charset="0"/>
                <a:sym typeface="+mn-lt"/>
              </a:rPr>
              <a:t>6</a:t>
            </a:r>
            <a:endParaRPr lang="zh-CN" altLang="en-US" b="1" spc="-150" dirty="0">
              <a:solidFill>
                <a:schemeClr val="bg1"/>
              </a:solidFill>
              <a:cs typeface="Arial" panose="020B0604020202020204" pitchFamily="34" charset="0"/>
              <a:sym typeface="+mn-lt"/>
            </a:endParaRPr>
          </a:p>
        </p:txBody>
      </p:sp>
    </p:spTree>
    <p:custDataLst>
      <p:tags r:id="rId1"/>
    </p:custDataLst>
    <p:extLst>
      <p:ext uri="{BB962C8B-B14F-4D97-AF65-F5344CB8AC3E}">
        <p14:creationId xmlns:p14="http://schemas.microsoft.com/office/powerpoint/2010/main" val="15207250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íŝľîḓé"/>
        <p:cNvGrpSpPr/>
        <p:nvPr/>
      </p:nvGrpSpPr>
      <p:grpSpPr>
        <a:xfrm>
          <a:off x="0" y="0"/>
          <a:ext cx="0" cy="0"/>
          <a:chOff x="0" y="0"/>
          <a:chExt cx="0" cy="0"/>
        </a:xfrm>
      </p:grpSpPr>
      <p:sp>
        <p:nvSpPr>
          <p:cNvPr id="42" name="íṣḷïḍê">
            <a:extLst>
              <a:ext uri="{FF2B5EF4-FFF2-40B4-BE49-F238E27FC236}">
                <a16:creationId xmlns:a16="http://schemas.microsoft.com/office/drawing/2014/main" id="{E0942EC5-EDD5-437F-8072-56D7E12BB298}"/>
              </a:ext>
            </a:extLst>
          </p:cNvPr>
          <p:cNvSpPr/>
          <p:nvPr/>
        </p:nvSpPr>
        <p:spPr>
          <a:xfrm>
            <a:off x="-38261" y="1"/>
            <a:ext cx="3380266" cy="6858000"/>
          </a:xfrm>
          <a:prstGeom prst="rect">
            <a:avLst/>
          </a:prstGeom>
          <a:blipFill>
            <a:blip r:embed="rId4"/>
            <a:srcRect/>
            <a:stretch>
              <a:fillRect l="-130000" r="-130000"/>
            </a:stretch>
          </a:blip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ctr"/>
            <a:endParaRPr lang="zh-CN" altLang="en-US" dirty="0">
              <a:solidFill>
                <a:schemeClr val="lt1"/>
              </a:solidFill>
              <a:sym typeface="+mn-lt"/>
            </a:endParaRPr>
          </a:p>
        </p:txBody>
      </p:sp>
      <p:sp>
        <p:nvSpPr>
          <p:cNvPr id="3" name="iSḻïḋé">
            <a:extLst>
              <a:ext uri="{FF2B5EF4-FFF2-40B4-BE49-F238E27FC236}">
                <a16:creationId xmlns:a16="http://schemas.microsoft.com/office/drawing/2014/main" id="{AE4A856C-4B4E-405D-9612-F22EEF7D4A28}"/>
              </a:ext>
            </a:extLst>
          </p:cNvPr>
          <p:cNvSpPr/>
          <p:nvPr/>
        </p:nvSpPr>
        <p:spPr>
          <a:xfrm>
            <a:off x="-38261" y="1"/>
            <a:ext cx="3380266" cy="6858000"/>
          </a:xfrm>
          <a:prstGeom prst="rect">
            <a:avLst/>
          </a:prstGeom>
          <a:solidFill>
            <a:schemeClr val="accent1">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ym typeface="+mn-lt"/>
            </a:endParaRPr>
          </a:p>
        </p:txBody>
      </p:sp>
      <p:sp>
        <p:nvSpPr>
          <p:cNvPr id="36" name="íşḷiďê">
            <a:extLst>
              <a:ext uri="{FF2B5EF4-FFF2-40B4-BE49-F238E27FC236}">
                <a16:creationId xmlns:a16="http://schemas.microsoft.com/office/drawing/2014/main" id="{5669EE88-42E6-4620-AE68-C49697CEA768}"/>
              </a:ext>
            </a:extLst>
          </p:cNvPr>
          <p:cNvSpPr/>
          <p:nvPr/>
        </p:nvSpPr>
        <p:spPr>
          <a:xfrm>
            <a:off x="6552747" y="2726921"/>
            <a:ext cx="2637925" cy="669663"/>
          </a:xfrm>
          <a:prstGeom prst="rect">
            <a:avLst/>
          </a:prstGeom>
          <a:noFill/>
          <a:ln>
            <a:noFill/>
          </a:ln>
        </p:spPr>
        <p:txBody>
          <a:bodyPr wrap="square" lIns="91440" tIns="45720" rIns="91440" bIns="45720" anchor="ctr">
            <a:noAutofit/>
          </a:bodyPr>
          <a:lstStyle/>
          <a:p>
            <a:pPr lvl="0" algn="ctr" fontAlgn="base">
              <a:spcBef>
                <a:spcPct val="0"/>
              </a:spcBef>
              <a:spcAft>
                <a:spcPct val="0"/>
              </a:spcAft>
              <a:tabLst>
                <a:tab pos="227965" algn="l"/>
              </a:tabLst>
              <a:defRPr/>
            </a:pPr>
            <a:r>
              <a:rPr lang="en-US" altLang="zh-CN" sz="1600" b="1" dirty="0">
                <a:sym typeface="+mn-lt"/>
              </a:rPr>
              <a:t>Preliminary Knowledge</a:t>
            </a:r>
          </a:p>
        </p:txBody>
      </p:sp>
      <p:sp>
        <p:nvSpPr>
          <p:cNvPr id="24" name="îṡḷîḑê">
            <a:extLst>
              <a:ext uri="{FF2B5EF4-FFF2-40B4-BE49-F238E27FC236}">
                <a16:creationId xmlns:a16="http://schemas.microsoft.com/office/drawing/2014/main" id="{C810ABF3-E94A-4484-AE69-1F104C484E97}"/>
              </a:ext>
            </a:extLst>
          </p:cNvPr>
          <p:cNvSpPr/>
          <p:nvPr/>
        </p:nvSpPr>
        <p:spPr>
          <a:xfrm>
            <a:off x="7623130" y="1945236"/>
            <a:ext cx="572770" cy="573405"/>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225425" lvl="0" indent="-225425" algn="ctr" fontAlgn="base">
              <a:spcBef>
                <a:spcPct val="0"/>
              </a:spcBef>
              <a:spcAft>
                <a:spcPct val="0"/>
              </a:spcAft>
              <a:defRPr/>
            </a:pPr>
            <a:r>
              <a:rPr lang="en-US" altLang="zh-CN" sz="1400" b="1" kern="0">
                <a:solidFill>
                  <a:prstClr val="black"/>
                </a:solidFill>
                <a:sym typeface="+mn-lt"/>
              </a:rPr>
              <a:t>0</a:t>
            </a:r>
            <a:r>
              <a:rPr lang="en-US" altLang="zh-CN" sz="100" b="1" kern="0">
                <a:solidFill>
                  <a:prstClr val="black"/>
                </a:solidFill>
                <a:sym typeface="+mn-lt"/>
              </a:rPr>
              <a:t>  </a:t>
            </a:r>
            <a:r>
              <a:rPr lang="en-US" altLang="zh-CN" sz="1400" b="1" kern="0">
                <a:solidFill>
                  <a:prstClr val="black"/>
                </a:solidFill>
                <a:sym typeface="+mn-lt"/>
              </a:rPr>
              <a:t>2</a:t>
            </a:r>
            <a:endParaRPr lang="en-US" altLang="zh-CN" sz="1400" b="1" kern="0" dirty="0">
              <a:solidFill>
                <a:prstClr val="black"/>
              </a:solidFill>
              <a:sym typeface="+mn-lt"/>
            </a:endParaRPr>
          </a:p>
        </p:txBody>
      </p:sp>
      <p:sp>
        <p:nvSpPr>
          <p:cNvPr id="34" name="îSḻiḋè">
            <a:extLst>
              <a:ext uri="{FF2B5EF4-FFF2-40B4-BE49-F238E27FC236}">
                <a16:creationId xmlns:a16="http://schemas.microsoft.com/office/drawing/2014/main" id="{2E5416BD-1989-4129-B9AD-894C0B9B0AEC}"/>
              </a:ext>
            </a:extLst>
          </p:cNvPr>
          <p:cNvSpPr/>
          <p:nvPr/>
        </p:nvSpPr>
        <p:spPr>
          <a:xfrm>
            <a:off x="4051890" y="2726921"/>
            <a:ext cx="2206625" cy="669663"/>
          </a:xfrm>
          <a:prstGeom prst="rect">
            <a:avLst/>
          </a:prstGeom>
          <a:noFill/>
          <a:ln>
            <a:noFill/>
          </a:ln>
        </p:spPr>
        <p:txBody>
          <a:bodyPr wrap="square" lIns="91440" tIns="45720" rIns="91440" bIns="45720" anchor="ctr">
            <a:noAutofit/>
          </a:bodyPr>
          <a:lstStyle/>
          <a:p>
            <a:pPr algn="ctr" fontAlgn="base">
              <a:spcBef>
                <a:spcPct val="0"/>
              </a:spcBef>
              <a:spcAft>
                <a:spcPct val="0"/>
              </a:spcAft>
              <a:tabLst>
                <a:tab pos="227965" algn="l"/>
              </a:tabLst>
              <a:defRPr/>
            </a:pPr>
            <a:r>
              <a:rPr lang="en-US" altLang="zh-CN" sz="1600" b="1" i="0" strike="noStrike" dirty="0">
                <a:cs typeface="Arial" panose="020B0604020202020204" pitchFamily="34" charset="0"/>
                <a:sym typeface="+mn-lt"/>
              </a:rPr>
              <a:t>Background</a:t>
            </a:r>
            <a:endParaRPr lang="zh-CN" altLang="en-US" sz="1600" b="1" i="0" dirty="0">
              <a:cs typeface="Arial" panose="020B0604020202020204" pitchFamily="34" charset="0"/>
              <a:sym typeface="+mn-lt"/>
            </a:endParaRPr>
          </a:p>
        </p:txBody>
      </p:sp>
      <p:sp>
        <p:nvSpPr>
          <p:cNvPr id="26" name="ï$ļîďé">
            <a:extLst>
              <a:ext uri="{FF2B5EF4-FFF2-40B4-BE49-F238E27FC236}">
                <a16:creationId xmlns:a16="http://schemas.microsoft.com/office/drawing/2014/main" id="{C2AF754F-E27E-43F4-A012-A2B37464E269}"/>
              </a:ext>
            </a:extLst>
          </p:cNvPr>
          <p:cNvSpPr/>
          <p:nvPr/>
        </p:nvSpPr>
        <p:spPr>
          <a:xfrm>
            <a:off x="4869135" y="1945236"/>
            <a:ext cx="572770" cy="573405"/>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225425" lvl="0" indent="-225425" algn="ctr" fontAlgn="base">
              <a:spcBef>
                <a:spcPct val="0"/>
              </a:spcBef>
              <a:spcAft>
                <a:spcPct val="0"/>
              </a:spcAft>
              <a:defRPr/>
            </a:pPr>
            <a:r>
              <a:rPr lang="en-US" altLang="zh-CN" sz="1400" b="1" kern="0">
                <a:solidFill>
                  <a:prstClr val="black"/>
                </a:solidFill>
                <a:sym typeface="+mn-lt"/>
              </a:rPr>
              <a:t>0</a:t>
            </a:r>
            <a:r>
              <a:rPr lang="en-US" altLang="zh-CN" sz="100" b="1" kern="0">
                <a:solidFill>
                  <a:prstClr val="black"/>
                </a:solidFill>
                <a:sym typeface="+mn-lt"/>
              </a:rPr>
              <a:t>  </a:t>
            </a:r>
            <a:r>
              <a:rPr lang="en-US" altLang="zh-CN" sz="1400" b="1" kern="0">
                <a:solidFill>
                  <a:prstClr val="black"/>
                </a:solidFill>
                <a:sym typeface="+mn-lt"/>
              </a:rPr>
              <a:t>1</a:t>
            </a:r>
            <a:endParaRPr lang="en-US" altLang="zh-CN" sz="1400" b="1" kern="0" dirty="0">
              <a:solidFill>
                <a:prstClr val="black"/>
              </a:solidFill>
              <a:sym typeface="+mn-lt"/>
            </a:endParaRPr>
          </a:p>
        </p:txBody>
      </p:sp>
      <p:sp>
        <p:nvSpPr>
          <p:cNvPr id="32" name="ïṧliḑè">
            <a:extLst>
              <a:ext uri="{FF2B5EF4-FFF2-40B4-BE49-F238E27FC236}">
                <a16:creationId xmlns:a16="http://schemas.microsoft.com/office/drawing/2014/main" id="{4050F14B-CB57-42F2-9598-A85055832DC8}"/>
              </a:ext>
            </a:extLst>
          </p:cNvPr>
          <p:cNvSpPr/>
          <p:nvPr/>
        </p:nvSpPr>
        <p:spPr>
          <a:xfrm>
            <a:off x="9552260" y="2726921"/>
            <a:ext cx="2206625" cy="669663"/>
          </a:xfrm>
          <a:prstGeom prst="rect">
            <a:avLst/>
          </a:prstGeom>
          <a:noFill/>
          <a:ln>
            <a:noFill/>
          </a:ln>
        </p:spPr>
        <p:txBody>
          <a:bodyPr wrap="square" lIns="91440" tIns="45720" rIns="91440" bIns="45720" anchor="ctr">
            <a:noAutofit/>
          </a:bodyPr>
          <a:lstStyle/>
          <a:p>
            <a:pPr lvl="0" algn="ctr" fontAlgn="base">
              <a:spcBef>
                <a:spcPct val="0"/>
              </a:spcBef>
              <a:spcAft>
                <a:spcPct val="0"/>
              </a:spcAft>
              <a:tabLst>
                <a:tab pos="227965" algn="l"/>
              </a:tabLst>
              <a:defRPr/>
            </a:pPr>
            <a:r>
              <a:rPr lang="en-US" altLang="zh-CN" sz="1600" b="1" dirty="0">
                <a:sym typeface="+mn-lt"/>
              </a:rPr>
              <a:t>System Model</a:t>
            </a:r>
          </a:p>
        </p:txBody>
      </p:sp>
      <p:sp>
        <p:nvSpPr>
          <p:cNvPr id="28" name="ïṧľíde">
            <a:extLst>
              <a:ext uri="{FF2B5EF4-FFF2-40B4-BE49-F238E27FC236}">
                <a16:creationId xmlns:a16="http://schemas.microsoft.com/office/drawing/2014/main" id="{392D68C7-499F-4DE9-8CE8-096D3B268CB5}"/>
              </a:ext>
            </a:extLst>
          </p:cNvPr>
          <p:cNvSpPr/>
          <p:nvPr/>
        </p:nvSpPr>
        <p:spPr>
          <a:xfrm>
            <a:off x="10369505" y="1945236"/>
            <a:ext cx="572770" cy="573405"/>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225425" lvl="0" indent="-225425" algn="ctr" fontAlgn="base">
              <a:spcBef>
                <a:spcPct val="0"/>
              </a:spcBef>
              <a:spcAft>
                <a:spcPct val="0"/>
              </a:spcAft>
              <a:defRPr/>
            </a:pPr>
            <a:r>
              <a:rPr lang="en-US" altLang="zh-CN" sz="1400" b="1" kern="0">
                <a:solidFill>
                  <a:prstClr val="black"/>
                </a:solidFill>
                <a:sym typeface="+mn-lt"/>
              </a:rPr>
              <a:t>0</a:t>
            </a:r>
            <a:r>
              <a:rPr lang="en-US" altLang="zh-CN" sz="100" b="1" kern="0">
                <a:solidFill>
                  <a:prstClr val="black"/>
                </a:solidFill>
                <a:sym typeface="+mn-lt"/>
              </a:rPr>
              <a:t>  </a:t>
            </a:r>
            <a:r>
              <a:rPr lang="en-US" altLang="zh-CN" sz="1400" b="1" kern="0">
                <a:solidFill>
                  <a:prstClr val="black"/>
                </a:solidFill>
                <a:sym typeface="+mn-lt"/>
              </a:rPr>
              <a:t>3</a:t>
            </a:r>
            <a:endParaRPr lang="en-US" altLang="zh-CN" sz="1400" b="1" kern="0" dirty="0">
              <a:solidFill>
                <a:prstClr val="black"/>
              </a:solidFill>
              <a:sym typeface="+mn-lt"/>
            </a:endParaRPr>
          </a:p>
        </p:txBody>
      </p:sp>
      <p:sp>
        <p:nvSpPr>
          <p:cNvPr id="21" name="işľiḋê">
            <a:extLst>
              <a:ext uri="{FF2B5EF4-FFF2-40B4-BE49-F238E27FC236}">
                <a16:creationId xmlns:a16="http://schemas.microsoft.com/office/drawing/2014/main" id="{3E260A26-E96A-4450-8687-C8E93263F96F}"/>
              </a:ext>
            </a:extLst>
          </p:cNvPr>
          <p:cNvSpPr/>
          <p:nvPr/>
        </p:nvSpPr>
        <p:spPr>
          <a:xfrm>
            <a:off x="6805885" y="4801907"/>
            <a:ext cx="2206625" cy="669663"/>
          </a:xfrm>
          <a:prstGeom prst="rect">
            <a:avLst/>
          </a:prstGeom>
          <a:noFill/>
          <a:ln>
            <a:noFill/>
          </a:ln>
        </p:spPr>
        <p:txBody>
          <a:bodyPr wrap="square" lIns="91440" tIns="45720" rIns="91440" bIns="45720" anchor="ctr">
            <a:noAutofit/>
          </a:bodyPr>
          <a:lstStyle/>
          <a:p>
            <a:pPr lvl="0" algn="ctr" fontAlgn="base">
              <a:spcBef>
                <a:spcPct val="0"/>
              </a:spcBef>
              <a:spcAft>
                <a:spcPct val="0"/>
              </a:spcAft>
              <a:tabLst>
                <a:tab pos="227965" algn="l"/>
              </a:tabLst>
              <a:defRPr/>
            </a:pPr>
            <a:r>
              <a:rPr lang="en-US" altLang="zh-CN" sz="1600" b="1" dirty="0">
                <a:sym typeface="+mn-lt"/>
              </a:rPr>
              <a:t>Security analysis</a:t>
            </a:r>
          </a:p>
        </p:txBody>
      </p:sp>
      <p:sp>
        <p:nvSpPr>
          <p:cNvPr id="9" name="iṣļíḓè">
            <a:extLst>
              <a:ext uri="{FF2B5EF4-FFF2-40B4-BE49-F238E27FC236}">
                <a16:creationId xmlns:a16="http://schemas.microsoft.com/office/drawing/2014/main" id="{2C61417B-602D-4D27-B3C8-D06798A87701}"/>
              </a:ext>
            </a:extLst>
          </p:cNvPr>
          <p:cNvSpPr/>
          <p:nvPr/>
        </p:nvSpPr>
        <p:spPr>
          <a:xfrm>
            <a:off x="7623130" y="4020222"/>
            <a:ext cx="572770" cy="573405"/>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225425" lvl="0" indent="-225425" algn="ctr" fontAlgn="base">
              <a:spcBef>
                <a:spcPct val="0"/>
              </a:spcBef>
              <a:spcAft>
                <a:spcPct val="0"/>
              </a:spcAft>
              <a:defRPr/>
            </a:pPr>
            <a:r>
              <a:rPr lang="en-US" altLang="zh-CN" sz="1400" b="1" kern="0">
                <a:solidFill>
                  <a:prstClr val="black"/>
                </a:solidFill>
                <a:sym typeface="+mn-lt"/>
              </a:rPr>
              <a:t>0</a:t>
            </a:r>
            <a:r>
              <a:rPr lang="en-US" altLang="zh-CN" sz="100" b="1" kern="0">
                <a:solidFill>
                  <a:prstClr val="black"/>
                </a:solidFill>
                <a:sym typeface="+mn-lt"/>
              </a:rPr>
              <a:t>  </a:t>
            </a:r>
            <a:r>
              <a:rPr lang="en-US" altLang="zh-CN" sz="1400" b="1" kern="0">
                <a:solidFill>
                  <a:prstClr val="black"/>
                </a:solidFill>
                <a:sym typeface="+mn-lt"/>
              </a:rPr>
              <a:t>5</a:t>
            </a:r>
            <a:endParaRPr lang="en-US" altLang="zh-CN" sz="1400" b="1" kern="0" dirty="0">
              <a:solidFill>
                <a:prstClr val="black"/>
              </a:solidFill>
              <a:sym typeface="+mn-lt"/>
            </a:endParaRPr>
          </a:p>
        </p:txBody>
      </p:sp>
      <p:sp>
        <p:nvSpPr>
          <p:cNvPr id="19" name="iS1ïḑè">
            <a:extLst>
              <a:ext uri="{FF2B5EF4-FFF2-40B4-BE49-F238E27FC236}">
                <a16:creationId xmlns:a16="http://schemas.microsoft.com/office/drawing/2014/main" id="{E38882B8-FD96-4F32-9BCF-10A7BE3D4932}"/>
              </a:ext>
            </a:extLst>
          </p:cNvPr>
          <p:cNvSpPr/>
          <p:nvPr/>
        </p:nvSpPr>
        <p:spPr>
          <a:xfrm>
            <a:off x="3720691" y="4801907"/>
            <a:ext cx="2869021" cy="669663"/>
          </a:xfrm>
          <a:prstGeom prst="rect">
            <a:avLst/>
          </a:prstGeom>
          <a:noFill/>
          <a:ln>
            <a:noFill/>
          </a:ln>
        </p:spPr>
        <p:txBody>
          <a:bodyPr wrap="square" lIns="91440" tIns="45720" rIns="91440" bIns="45720" anchor="ctr">
            <a:noAutofit/>
          </a:bodyPr>
          <a:lstStyle/>
          <a:p>
            <a:pPr lvl="0" algn="ctr" fontAlgn="base">
              <a:spcBef>
                <a:spcPct val="0"/>
              </a:spcBef>
              <a:spcAft>
                <a:spcPct val="0"/>
              </a:spcAft>
              <a:tabLst>
                <a:tab pos="227965" algn="l"/>
              </a:tabLst>
              <a:defRPr/>
            </a:pPr>
            <a:r>
              <a:rPr lang="en-US" altLang="zh-CN" sz="1600" b="1" dirty="0">
                <a:sym typeface="+mn-lt"/>
              </a:rPr>
              <a:t>Specific Construction</a:t>
            </a:r>
          </a:p>
        </p:txBody>
      </p:sp>
      <p:sp>
        <p:nvSpPr>
          <p:cNvPr id="11" name="iŝḷïḓé">
            <a:extLst>
              <a:ext uri="{FF2B5EF4-FFF2-40B4-BE49-F238E27FC236}">
                <a16:creationId xmlns:a16="http://schemas.microsoft.com/office/drawing/2014/main" id="{2662A72F-1F59-4A4B-847B-913C7879A021}"/>
              </a:ext>
            </a:extLst>
          </p:cNvPr>
          <p:cNvSpPr/>
          <p:nvPr/>
        </p:nvSpPr>
        <p:spPr>
          <a:xfrm>
            <a:off x="4869135" y="4020222"/>
            <a:ext cx="572770" cy="573405"/>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225425" lvl="0" indent="-225425" algn="ctr" fontAlgn="base">
              <a:spcBef>
                <a:spcPct val="0"/>
              </a:spcBef>
              <a:spcAft>
                <a:spcPct val="0"/>
              </a:spcAft>
              <a:defRPr/>
            </a:pPr>
            <a:r>
              <a:rPr lang="en-US" altLang="zh-CN" sz="1400" b="1" kern="0">
                <a:solidFill>
                  <a:prstClr val="black"/>
                </a:solidFill>
                <a:sym typeface="+mn-lt"/>
              </a:rPr>
              <a:t>0</a:t>
            </a:r>
            <a:r>
              <a:rPr lang="en-US" altLang="zh-CN" sz="100" b="1" kern="0">
                <a:solidFill>
                  <a:prstClr val="black"/>
                </a:solidFill>
                <a:sym typeface="+mn-lt"/>
              </a:rPr>
              <a:t>  </a:t>
            </a:r>
            <a:r>
              <a:rPr lang="en-US" altLang="zh-CN" sz="1400" b="1" kern="0">
                <a:solidFill>
                  <a:prstClr val="black"/>
                </a:solidFill>
                <a:sym typeface="+mn-lt"/>
              </a:rPr>
              <a:t>4</a:t>
            </a:r>
            <a:endParaRPr lang="en-US" altLang="zh-CN" sz="1400" b="1" kern="0" dirty="0">
              <a:solidFill>
                <a:prstClr val="black"/>
              </a:solidFill>
              <a:sym typeface="+mn-lt"/>
            </a:endParaRPr>
          </a:p>
        </p:txBody>
      </p:sp>
      <p:sp>
        <p:nvSpPr>
          <p:cNvPr id="17" name="îş1îḋè">
            <a:extLst>
              <a:ext uri="{FF2B5EF4-FFF2-40B4-BE49-F238E27FC236}">
                <a16:creationId xmlns:a16="http://schemas.microsoft.com/office/drawing/2014/main" id="{D280FFF4-7F9F-4C22-A211-3A258339674D}"/>
              </a:ext>
            </a:extLst>
          </p:cNvPr>
          <p:cNvSpPr/>
          <p:nvPr/>
        </p:nvSpPr>
        <p:spPr>
          <a:xfrm>
            <a:off x="9552260" y="4801907"/>
            <a:ext cx="2206625" cy="669663"/>
          </a:xfrm>
          <a:prstGeom prst="rect">
            <a:avLst/>
          </a:prstGeom>
          <a:noFill/>
          <a:ln>
            <a:noFill/>
          </a:ln>
        </p:spPr>
        <p:txBody>
          <a:bodyPr wrap="square" lIns="91440" tIns="45720" rIns="91440" bIns="45720" anchor="ctr">
            <a:noAutofit/>
          </a:bodyPr>
          <a:lstStyle/>
          <a:p>
            <a:pPr lvl="0" algn="ctr" fontAlgn="base">
              <a:spcBef>
                <a:spcPct val="0"/>
              </a:spcBef>
              <a:spcAft>
                <a:spcPct val="0"/>
              </a:spcAft>
              <a:tabLst>
                <a:tab pos="227965" algn="l"/>
              </a:tabLst>
              <a:defRPr/>
            </a:pPr>
            <a:r>
              <a:rPr lang="en-US" altLang="zh-CN" sz="1600" b="1" dirty="0">
                <a:sym typeface="+mn-lt"/>
              </a:rPr>
              <a:t>Conclusions</a:t>
            </a:r>
          </a:p>
        </p:txBody>
      </p:sp>
      <p:sp>
        <p:nvSpPr>
          <p:cNvPr id="13" name="ïṧľídè">
            <a:extLst>
              <a:ext uri="{FF2B5EF4-FFF2-40B4-BE49-F238E27FC236}">
                <a16:creationId xmlns:a16="http://schemas.microsoft.com/office/drawing/2014/main" id="{A3B407AD-1F5B-4D5E-9DA0-7CB7E3EC07B2}"/>
              </a:ext>
            </a:extLst>
          </p:cNvPr>
          <p:cNvSpPr/>
          <p:nvPr/>
        </p:nvSpPr>
        <p:spPr>
          <a:xfrm>
            <a:off x="10369505" y="4020222"/>
            <a:ext cx="572770" cy="573405"/>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225425" lvl="0" indent="-225425" algn="ctr" fontAlgn="base">
              <a:spcBef>
                <a:spcPct val="0"/>
              </a:spcBef>
              <a:spcAft>
                <a:spcPct val="0"/>
              </a:spcAft>
              <a:defRPr/>
            </a:pPr>
            <a:r>
              <a:rPr lang="en-US" altLang="zh-CN" sz="1400" b="1" kern="0">
                <a:solidFill>
                  <a:prstClr val="black"/>
                </a:solidFill>
                <a:sym typeface="+mn-lt"/>
              </a:rPr>
              <a:t>0</a:t>
            </a:r>
            <a:r>
              <a:rPr lang="en-US" altLang="zh-CN" sz="100" b="1" kern="0">
                <a:solidFill>
                  <a:prstClr val="black"/>
                </a:solidFill>
                <a:sym typeface="+mn-lt"/>
              </a:rPr>
              <a:t>  </a:t>
            </a:r>
            <a:r>
              <a:rPr lang="en-US" altLang="zh-CN" sz="1400" b="1" kern="0">
                <a:solidFill>
                  <a:prstClr val="black"/>
                </a:solidFill>
                <a:sym typeface="+mn-lt"/>
              </a:rPr>
              <a:t>6</a:t>
            </a:r>
            <a:endParaRPr lang="en-US" altLang="zh-CN" sz="1400" b="1" kern="0" dirty="0">
              <a:solidFill>
                <a:prstClr val="black"/>
              </a:solidFill>
              <a:sym typeface="+mn-lt"/>
            </a:endParaRPr>
          </a:p>
        </p:txBody>
      </p:sp>
      <p:sp>
        <p:nvSpPr>
          <p:cNvPr id="5" name="ísḷïḋe">
            <a:extLst>
              <a:ext uri="{FF2B5EF4-FFF2-40B4-BE49-F238E27FC236}">
                <a16:creationId xmlns:a16="http://schemas.microsoft.com/office/drawing/2014/main" id="{3AF139D4-548E-401F-8C73-4989372BDECF}"/>
              </a:ext>
            </a:extLst>
          </p:cNvPr>
          <p:cNvSpPr/>
          <p:nvPr/>
        </p:nvSpPr>
        <p:spPr>
          <a:xfrm>
            <a:off x="1931636" y="1975608"/>
            <a:ext cx="1846569" cy="1891480"/>
          </a:xfrm>
          <a:prstGeom prst="rect">
            <a:avLst/>
          </a:prstGeom>
          <a:noFill/>
          <a:ln w="19050">
            <a:solidFill>
              <a:schemeClr val="accent2"/>
            </a:solidFill>
          </a:ln>
        </p:spPr>
        <p:txBody>
          <a:bodyPr vert="horz" wrap="square">
            <a:spAutoFit/>
          </a:bodyPr>
          <a:lstStyle/>
          <a:p>
            <a:pPr>
              <a:lnSpc>
                <a:spcPct val="120000"/>
              </a:lnSpc>
            </a:pPr>
            <a:endParaRPr lang="en-US" altLang="zh-CN" sz="2400" b="1" dirty="0">
              <a:solidFill>
                <a:schemeClr val="accent2"/>
              </a:solidFill>
              <a:sym typeface="+mn-lt"/>
            </a:endParaRPr>
          </a:p>
          <a:p>
            <a:pPr>
              <a:lnSpc>
                <a:spcPct val="120000"/>
              </a:lnSpc>
            </a:pPr>
            <a:r>
              <a:rPr lang="en-US" altLang="zh-CN" sz="300" b="1" dirty="0">
                <a:solidFill>
                  <a:schemeClr val="accent2"/>
                </a:solidFill>
                <a:sym typeface="+mn-lt"/>
              </a:rPr>
              <a:t>          </a:t>
            </a:r>
            <a:r>
              <a:rPr lang="en-US" altLang="zh-CN" sz="2400" b="1" dirty="0">
                <a:solidFill>
                  <a:schemeClr val="accent2"/>
                </a:solidFill>
                <a:sym typeface="+mn-lt"/>
              </a:rPr>
              <a:t>CON</a:t>
            </a:r>
          </a:p>
          <a:p>
            <a:pPr>
              <a:lnSpc>
                <a:spcPct val="120000"/>
              </a:lnSpc>
            </a:pPr>
            <a:r>
              <a:rPr lang="en-US" altLang="zh-CN" sz="2400" b="1" dirty="0">
                <a:solidFill>
                  <a:schemeClr val="accent2"/>
                </a:solidFill>
                <a:sym typeface="+mn-lt"/>
              </a:rPr>
              <a:t> TENT</a:t>
            </a:r>
            <a:r>
              <a:rPr lang="en-US" altLang="zh-CN" sz="100" b="1" dirty="0">
                <a:solidFill>
                  <a:schemeClr val="accent2"/>
                </a:solidFill>
                <a:sym typeface="+mn-lt"/>
              </a:rPr>
              <a:t> </a:t>
            </a:r>
            <a:r>
              <a:rPr lang="en-US" altLang="zh-CN" sz="2400" b="1" dirty="0">
                <a:solidFill>
                  <a:schemeClr val="accent2"/>
                </a:solidFill>
                <a:sym typeface="+mn-lt"/>
              </a:rPr>
              <a:t>S</a:t>
            </a:r>
          </a:p>
          <a:p>
            <a:pPr>
              <a:lnSpc>
                <a:spcPct val="120000"/>
              </a:lnSpc>
            </a:pPr>
            <a:endParaRPr lang="en-US" altLang="zh-CN" sz="2800" b="1" dirty="0">
              <a:solidFill>
                <a:schemeClr val="accent2"/>
              </a:solidFill>
              <a:sym typeface="+mn-lt"/>
            </a:endParaRPr>
          </a:p>
        </p:txBody>
      </p:sp>
      <p:cxnSp>
        <p:nvCxnSpPr>
          <p:cNvPr id="7" name="îṧļíḑê">
            <a:extLst>
              <a:ext uri="{FF2B5EF4-FFF2-40B4-BE49-F238E27FC236}">
                <a16:creationId xmlns:a16="http://schemas.microsoft.com/office/drawing/2014/main" id="{48A85367-C760-4779-91B8-0380FA78F82B}"/>
              </a:ext>
            </a:extLst>
          </p:cNvPr>
          <p:cNvCxnSpPr>
            <a:cxnSpLocks/>
          </p:cNvCxnSpPr>
          <p:nvPr/>
        </p:nvCxnSpPr>
        <p:spPr>
          <a:xfrm>
            <a:off x="2181821" y="3553821"/>
            <a:ext cx="24387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图片 3">
            <a:extLst>
              <a:ext uri="{FF2B5EF4-FFF2-40B4-BE49-F238E27FC236}">
                <a16:creationId xmlns:a16="http://schemas.microsoft.com/office/drawing/2014/main" id="{27F71697-26D6-416B-948B-40FB5EB5D8F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702789" y="407537"/>
            <a:ext cx="913492" cy="836759"/>
          </a:xfrm>
          <a:prstGeom prst="rect">
            <a:avLst/>
          </a:prstGeom>
        </p:spPr>
      </p:pic>
    </p:spTree>
    <p:custDataLst>
      <p:tags r:id="rId1"/>
    </p:custDataLst>
    <p:extLst>
      <p:ext uri="{BB962C8B-B14F-4D97-AF65-F5344CB8AC3E}">
        <p14:creationId xmlns:p14="http://schemas.microsoft.com/office/powerpoint/2010/main" val="23495429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iSľîḍê"/>
        <p:cNvGrpSpPr/>
        <p:nvPr/>
      </p:nvGrpSpPr>
      <p:grpSpPr>
        <a:xfrm>
          <a:off x="0" y="0"/>
          <a:ext cx="0" cy="0"/>
          <a:chOff x="0" y="0"/>
          <a:chExt cx="0" cy="0"/>
        </a:xfrm>
      </p:grpSpPr>
      <p:sp>
        <p:nvSpPr>
          <p:cNvPr id="2" name="íśḷïde">
            <a:extLst>
              <a:ext uri="{FF2B5EF4-FFF2-40B4-BE49-F238E27FC236}">
                <a16:creationId xmlns:a16="http://schemas.microsoft.com/office/drawing/2014/main" id="{76D9AFBE-F357-4B50-991B-3346613A6BE9}"/>
              </a:ext>
            </a:extLst>
          </p:cNvPr>
          <p:cNvSpPr>
            <a:spLocks noGrp="1"/>
          </p:cNvSpPr>
          <p:nvPr>
            <p:ph type="title"/>
          </p:nvPr>
        </p:nvSpPr>
        <p:spPr/>
        <p:txBody>
          <a:bodyPr>
            <a:normAutofit/>
          </a:bodyPr>
          <a:lstStyle/>
          <a:p>
            <a:r>
              <a:rPr lang="en-US" altLang="zh-CN" b="1" i="0" u="none" strike="noStrike" kern="1200" baseline="0" dirty="0">
                <a:solidFill>
                  <a:srgbClr val="000000"/>
                </a:solidFill>
                <a:latin typeface="Arial" panose="020B0604020202020204" pitchFamily="34" charset="0"/>
                <a:ea typeface="微软雅黑" panose="020B0503020204020204" pitchFamily="34" charset="-122"/>
              </a:rPr>
              <a:t>Conclusions</a:t>
            </a:r>
            <a:endParaRPr lang="zh-CN" altLang="en-US" sz="4000" dirty="0">
              <a:latin typeface="+mn-lt"/>
              <a:sym typeface="+mn-lt"/>
            </a:endParaRPr>
          </a:p>
        </p:txBody>
      </p:sp>
      <p:sp>
        <p:nvSpPr>
          <p:cNvPr id="3" name="ïsľide">
            <a:extLst>
              <a:ext uri="{FF2B5EF4-FFF2-40B4-BE49-F238E27FC236}">
                <a16:creationId xmlns:a16="http://schemas.microsoft.com/office/drawing/2014/main" id="{2E907C7D-050D-4645-97CE-14F0A6D1533E}"/>
              </a:ext>
            </a:extLst>
          </p:cNvPr>
          <p:cNvSpPr>
            <a:spLocks noGrp="1"/>
          </p:cNvSpPr>
          <p:nvPr>
            <p:ph type="ftr" sz="quarter" idx="11"/>
          </p:nvPr>
        </p:nvSpPr>
        <p:spPr/>
        <p:txBody>
          <a:bodyPr/>
          <a:lstStyle/>
          <a:p>
            <a:r>
              <a:rPr lang="zh-CN" altLang="en-US">
                <a:sym typeface="+mn-lt"/>
              </a:rPr>
              <a:t>请在插入菜单</a:t>
            </a:r>
            <a:r>
              <a:rPr lang="en-US" altLang="zh-CN">
                <a:sym typeface="+mn-lt"/>
              </a:rPr>
              <a:t>—</a:t>
            </a:r>
            <a:r>
              <a:rPr lang="zh-CN" altLang="en-US">
                <a:sym typeface="+mn-lt"/>
              </a:rPr>
              <a:t>页眉和页脚中修</a:t>
            </a:r>
            <a:r>
              <a:rPr lang="zh-CN" altLang="en-US" sz="100">
                <a:sym typeface="+mn-lt"/>
              </a:rPr>
              <a:t> </a:t>
            </a:r>
            <a:r>
              <a:rPr lang="zh-CN" altLang="en-US">
                <a:sym typeface="+mn-lt"/>
              </a:rPr>
              <a:t>改此文本</a:t>
            </a:r>
            <a:endParaRPr lang="zh-CN" altLang="en-US" dirty="0">
              <a:sym typeface="+mn-lt"/>
            </a:endParaRPr>
          </a:p>
        </p:txBody>
      </p:sp>
      <p:sp>
        <p:nvSpPr>
          <p:cNvPr id="4" name="ïSľíḓê">
            <a:extLst>
              <a:ext uri="{FF2B5EF4-FFF2-40B4-BE49-F238E27FC236}">
                <a16:creationId xmlns:a16="http://schemas.microsoft.com/office/drawing/2014/main" id="{15F870F8-6F01-4E7F-BA5E-06E8167EEF30}"/>
              </a:ext>
            </a:extLst>
          </p:cNvPr>
          <p:cNvSpPr>
            <a:spLocks noGrp="1"/>
          </p:cNvSpPr>
          <p:nvPr>
            <p:ph type="sldNum" sz="quarter" idx="12"/>
          </p:nvPr>
        </p:nvSpPr>
        <p:spPr/>
        <p:txBody>
          <a:bodyPr/>
          <a:lstStyle/>
          <a:p>
            <a:fld id="{5DD3DB80-B894-403A-B48E-6FDC1A72010E}" type="slidenum">
              <a:rPr lang="zh-CN" altLang="en-US" smtClean="0">
                <a:sym typeface="+mn-lt"/>
              </a:rPr>
              <a:pPr/>
              <a:t>20</a:t>
            </a:fld>
            <a:r>
              <a:rPr lang="zh-CN" altLang="en-US" sz="100">
                <a:sym typeface="+mn-lt"/>
              </a:rPr>
              <a:t> </a:t>
            </a:r>
          </a:p>
        </p:txBody>
      </p:sp>
      <p:sp>
        <p:nvSpPr>
          <p:cNvPr id="6" name="文本框 5">
            <a:extLst>
              <a:ext uri="{FF2B5EF4-FFF2-40B4-BE49-F238E27FC236}">
                <a16:creationId xmlns:a16="http://schemas.microsoft.com/office/drawing/2014/main" id="{2E44CD78-0297-45A2-9DB8-6948DC89EDD2}"/>
              </a:ext>
            </a:extLst>
          </p:cNvPr>
          <p:cNvSpPr txBox="1"/>
          <p:nvPr/>
        </p:nvSpPr>
        <p:spPr>
          <a:xfrm>
            <a:off x="669924" y="1485900"/>
            <a:ext cx="1685077" cy="646331"/>
          </a:xfrm>
          <a:prstGeom prst="rect">
            <a:avLst/>
          </a:prstGeom>
          <a:noFill/>
        </p:spPr>
        <p:txBody>
          <a:bodyPr wrap="none" rtlCol="0">
            <a:spAutoFit/>
          </a:bodyPr>
          <a:lstStyle/>
          <a:p>
            <a:r>
              <a:rPr lang="en-US" altLang="zh-CN" b="1" dirty="0"/>
              <a:t>Shortcoming:</a:t>
            </a:r>
          </a:p>
          <a:p>
            <a:endParaRPr lang="zh-CN" altLang="en-US" b="1" dirty="0"/>
          </a:p>
        </p:txBody>
      </p:sp>
      <p:cxnSp>
        <p:nvCxnSpPr>
          <p:cNvPr id="8" name="直接连接符 7">
            <a:extLst>
              <a:ext uri="{FF2B5EF4-FFF2-40B4-BE49-F238E27FC236}">
                <a16:creationId xmlns:a16="http://schemas.microsoft.com/office/drawing/2014/main" id="{342486E5-4FF0-4826-A465-EC99197234EA}"/>
              </a:ext>
            </a:extLst>
          </p:cNvPr>
          <p:cNvCxnSpPr/>
          <p:nvPr/>
        </p:nvCxnSpPr>
        <p:spPr>
          <a:xfrm>
            <a:off x="774440" y="1931437"/>
            <a:ext cx="2491274"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文本框 8">
            <a:extLst>
              <a:ext uri="{FF2B5EF4-FFF2-40B4-BE49-F238E27FC236}">
                <a16:creationId xmlns:a16="http://schemas.microsoft.com/office/drawing/2014/main" id="{656C6166-3F0D-4E98-9169-7EC01E5D001F}"/>
              </a:ext>
            </a:extLst>
          </p:cNvPr>
          <p:cNvSpPr txBox="1"/>
          <p:nvPr/>
        </p:nvSpPr>
        <p:spPr>
          <a:xfrm>
            <a:off x="1296955" y="2202024"/>
            <a:ext cx="4416594" cy="1287532"/>
          </a:xfrm>
          <a:prstGeom prst="rect">
            <a:avLst/>
          </a:prstGeom>
          <a:noFill/>
        </p:spPr>
        <p:txBody>
          <a:bodyPr wrap="none" rtlCol="0">
            <a:spAutoFit/>
          </a:bodyPr>
          <a:lstStyle/>
          <a:p>
            <a:pPr>
              <a:lnSpc>
                <a:spcPct val="150000"/>
              </a:lnSpc>
            </a:pPr>
            <a:r>
              <a:rPr lang="en-US" altLang="zh-CN" dirty="0">
                <a:latin typeface="+mj-lt"/>
              </a:rPr>
              <a:t>1. </a:t>
            </a:r>
            <a:r>
              <a:rPr lang="en-US" altLang="zh-CN" dirty="0">
                <a:latin typeface="+mj-lt"/>
                <a:ea typeface="宋体" panose="02010600030101010101" pitchFamily="2" charset="-122"/>
              </a:rPr>
              <a:t>I</a:t>
            </a:r>
            <a:r>
              <a:rPr lang="en-US" altLang="zh-CN" sz="1800" dirty="0">
                <a:latin typeface="+mj-lt"/>
                <a:ea typeface="宋体" panose="02010600030101010101" pitchFamily="2" charset="-122"/>
              </a:rPr>
              <a:t>nefficiency</a:t>
            </a:r>
            <a:endParaRPr lang="zh-CN" altLang="en-US" sz="1800" dirty="0">
              <a:latin typeface="+mj-lt"/>
              <a:ea typeface="宋体" panose="02010600030101010101" pitchFamily="2" charset="-122"/>
            </a:endParaRPr>
          </a:p>
          <a:p>
            <a:pPr>
              <a:lnSpc>
                <a:spcPct val="150000"/>
              </a:lnSpc>
            </a:pPr>
            <a:r>
              <a:rPr lang="en-US" altLang="zh-CN" dirty="0">
                <a:latin typeface="+mj-lt"/>
              </a:rPr>
              <a:t>2. </a:t>
            </a:r>
            <a:r>
              <a:rPr lang="en-US" altLang="zh-CN" sz="1800" dirty="0">
                <a:latin typeface="+mj-lt"/>
                <a:ea typeface="宋体" panose="02010600030101010101" pitchFamily="2" charset="-122"/>
              </a:rPr>
              <a:t>Single function---</a:t>
            </a:r>
            <a:r>
              <a:rPr lang="en-US" altLang="zh-CN" dirty="0">
                <a:latin typeface="+mj-lt"/>
                <a:ea typeface="宋体" panose="02010600030101010101" pitchFamily="2" charset="-122"/>
              </a:rPr>
              <a:t>f</a:t>
            </a:r>
            <a:r>
              <a:rPr lang="en-US" altLang="zh-CN" sz="1800" dirty="0">
                <a:latin typeface="+mj-lt"/>
                <a:ea typeface="宋体" panose="02010600030101010101" pitchFamily="2" charset="-122"/>
              </a:rPr>
              <a:t>or sharing only</a:t>
            </a:r>
            <a:endParaRPr lang="zh-CN" altLang="en-US" sz="1800" dirty="0">
              <a:latin typeface="+mj-lt"/>
              <a:ea typeface="宋体" panose="02010600030101010101" pitchFamily="2" charset="-122"/>
            </a:endParaRPr>
          </a:p>
          <a:p>
            <a:pPr>
              <a:lnSpc>
                <a:spcPct val="150000"/>
              </a:lnSpc>
            </a:pPr>
            <a:r>
              <a:rPr lang="en-US" altLang="zh-CN" sz="1800" dirty="0">
                <a:latin typeface="+mj-lt"/>
                <a:ea typeface="宋体" panose="02010600030101010101" pitchFamily="2" charset="-122"/>
              </a:rPr>
              <a:t>3. </a:t>
            </a:r>
            <a:r>
              <a:rPr lang="en-US" altLang="zh-CN" b="0" i="0" dirty="0">
                <a:solidFill>
                  <a:srgbClr val="525252"/>
                </a:solidFill>
                <a:effectLst/>
                <a:latin typeface="+mj-lt"/>
              </a:rPr>
              <a:t>Key management is a burden for users</a:t>
            </a:r>
            <a:endParaRPr lang="zh-CN" altLang="en-US" sz="1800" dirty="0">
              <a:latin typeface="+mj-lt"/>
              <a:ea typeface="宋体" panose="02010600030101010101" pitchFamily="2" charset="-122"/>
            </a:endParaRPr>
          </a:p>
        </p:txBody>
      </p:sp>
    </p:spTree>
    <p:custDataLst>
      <p:tags r:id="rId1"/>
    </p:custDataLst>
    <p:extLst>
      <p:ext uri="{BB962C8B-B14F-4D97-AF65-F5344CB8AC3E}">
        <p14:creationId xmlns:p14="http://schemas.microsoft.com/office/powerpoint/2010/main" val="18247730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iš1îḓe"/>
        <p:cNvGrpSpPr/>
        <p:nvPr/>
      </p:nvGrpSpPr>
      <p:grpSpPr>
        <a:xfrm>
          <a:off x="0" y="0"/>
          <a:ext cx="0" cy="0"/>
          <a:chOff x="0" y="0"/>
          <a:chExt cx="0" cy="0"/>
        </a:xfrm>
      </p:grpSpPr>
      <p:graphicFrame>
        <p:nvGraphicFramePr>
          <p:cNvPr id="3" name="îśļîďê" hidden="1">
            <a:extLst>
              <a:ext uri="{FF2B5EF4-FFF2-40B4-BE49-F238E27FC236}">
                <a16:creationId xmlns:a16="http://schemas.microsoft.com/office/drawing/2014/main" id="{A6A819F1-33AF-45D7-8BF6-2B0A9769CAD4}"/>
              </a:ext>
            </a:extLst>
          </p:cNvPr>
          <p:cNvGraphicFramePr>
            <a:graphicFrameLocks noChangeAspect="1"/>
          </p:cNvGraphicFramePr>
          <p:nvPr>
            <p:custDataLst>
              <p:tags r:id="rId2"/>
            </p:custDataLst>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3" name="îśļîďê" hidden="1">
                        <a:extLst>
                          <a:ext uri="{FF2B5EF4-FFF2-40B4-BE49-F238E27FC236}">
                            <a16:creationId xmlns:a16="http://schemas.microsoft.com/office/drawing/2014/main" id="{A6A819F1-33AF-45D7-8BF6-2B0A9769CAD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îṣ1îdê" hidden="1">
            <a:extLst>
              <a:ext uri="{FF2B5EF4-FFF2-40B4-BE49-F238E27FC236}">
                <a16:creationId xmlns:a16="http://schemas.microsoft.com/office/drawing/2014/main" id="{FF51F16D-1BAD-46EE-A6F4-B8B94C9DF62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ea typeface="微软雅黑" panose="020B0503020204020204" pitchFamily="34" charset="-122"/>
              <a:cs typeface="+mj-cs"/>
              <a:sym typeface="+mn-lt"/>
            </a:endParaRPr>
          </a:p>
        </p:txBody>
      </p:sp>
      <p:sp>
        <p:nvSpPr>
          <p:cNvPr id="5" name="íṡľíḓé"/>
          <p:cNvSpPr>
            <a:spLocks noGrp="1"/>
          </p:cNvSpPr>
          <p:nvPr>
            <p:ph type="ctrTitle"/>
          </p:nvPr>
        </p:nvSpPr>
        <p:spPr>
          <a:xfrm>
            <a:off x="965200" y="3867525"/>
            <a:ext cx="10845798" cy="1621509"/>
          </a:xfrm>
        </p:spPr>
        <p:txBody>
          <a:bodyPr>
            <a:normAutofit fontScale="90000"/>
          </a:bodyPr>
          <a:lstStyle/>
          <a:p>
            <a:pPr algn="l"/>
            <a:r>
              <a:rPr lang="en-US" altLang="zh-CN" sz="8900" dirty="0">
                <a:latin typeface="+mn-lt"/>
                <a:sym typeface="+mn-lt"/>
              </a:rPr>
              <a:t>THANKS</a:t>
            </a:r>
            <a:br>
              <a:rPr lang="en-US" altLang="zh-CN" dirty="0">
                <a:latin typeface="+mn-lt"/>
                <a:sym typeface="+mn-lt"/>
              </a:rPr>
            </a:br>
            <a:r>
              <a:rPr lang="en-US" altLang="zh-CN" sz="3100" b="0" dirty="0">
                <a:latin typeface="+mn-lt"/>
                <a:sym typeface="+mn-lt"/>
              </a:rPr>
              <a:t>And You</a:t>
            </a:r>
            <a:r>
              <a:rPr lang="en-US" altLang="zh-CN" sz="100" b="0" dirty="0">
                <a:latin typeface="+mn-lt"/>
                <a:sym typeface="+mn-lt"/>
              </a:rPr>
              <a:t> </a:t>
            </a:r>
            <a:r>
              <a:rPr lang="en-US" altLang="zh-CN" sz="3100" b="0" dirty="0">
                <a:latin typeface="+mn-lt"/>
                <a:sym typeface="+mn-lt"/>
              </a:rPr>
              <a:t>r </a:t>
            </a:r>
            <a:r>
              <a:rPr lang="en-US" altLang="zh-CN" sz="3100" b="0" dirty="0">
                <a:solidFill>
                  <a:schemeClr val="accent2"/>
                </a:solidFill>
                <a:latin typeface="+mn-lt"/>
                <a:sym typeface="+mn-lt"/>
              </a:rPr>
              <a:t>Slogan</a:t>
            </a:r>
            <a:r>
              <a:rPr lang="en-US" altLang="zh-CN" sz="3100" b="0" dirty="0">
                <a:latin typeface="+mn-lt"/>
                <a:sym typeface="+mn-lt"/>
              </a:rPr>
              <a:t> Here</a:t>
            </a:r>
            <a:endParaRPr lang="zh-CN" altLang="en-US" b="0" dirty="0">
              <a:latin typeface="+mn-lt"/>
              <a:sym typeface="+mn-lt"/>
            </a:endParaRPr>
          </a:p>
        </p:txBody>
      </p:sp>
      <p:sp>
        <p:nvSpPr>
          <p:cNvPr id="6" name="ïṥ1iḋé"/>
          <p:cNvSpPr>
            <a:spLocks noGrp="1"/>
          </p:cNvSpPr>
          <p:nvPr>
            <p:ph type="body" sz="quarter" idx="10"/>
          </p:nvPr>
        </p:nvSpPr>
        <p:spPr>
          <a:xfrm>
            <a:off x="8356911" y="1603211"/>
            <a:ext cx="2442880" cy="1359027"/>
          </a:xfrm>
        </p:spPr>
        <p:txBody>
          <a:bodyPr vert="horz" lIns="91440" tIns="45720" rIns="91440" bIns="45720" rtlCol="0">
            <a:normAutofit/>
          </a:bodyPr>
          <a:lstStyle/>
          <a:p>
            <a:pPr algn="r"/>
            <a:r>
              <a:rPr lang="zh-CN" altLang="en-US" sz="2400" dirty="0">
                <a:solidFill>
                  <a:schemeClr val="accent2"/>
                </a:solidFill>
                <a:ea typeface="华文中宋" panose="02010600040101010101" pitchFamily="2" charset="-122"/>
                <a:cs typeface="Arial" panose="020B0604020202020204" pitchFamily="34" charset="0"/>
                <a:sym typeface="+mn-lt"/>
              </a:rPr>
              <a:t>演讲人：李超群</a:t>
            </a:r>
            <a:endParaRPr lang="en-US" altLang="zh-CN" sz="2400" dirty="0">
              <a:solidFill>
                <a:schemeClr val="accent2"/>
              </a:solidFill>
              <a:ea typeface="华文中宋" panose="02010600040101010101" pitchFamily="2" charset="-122"/>
              <a:cs typeface="Arial" panose="020B0604020202020204" pitchFamily="34" charset="0"/>
              <a:sym typeface="+mn-lt"/>
            </a:endParaRPr>
          </a:p>
          <a:p>
            <a:pPr algn="r"/>
            <a:r>
              <a:rPr lang="zh-CN" altLang="en-US" sz="2400" dirty="0">
                <a:solidFill>
                  <a:schemeClr val="accent2"/>
                </a:solidFill>
                <a:ea typeface="华文中宋" panose="02010600040101010101" pitchFamily="2" charset="-122"/>
                <a:cs typeface="Arial" panose="020B0604020202020204" pitchFamily="34" charset="0"/>
                <a:sym typeface="+mn-lt"/>
              </a:rPr>
              <a:t>制作人：李超群</a:t>
            </a:r>
            <a:endParaRPr lang="en-US" altLang="zh-CN" sz="2400" dirty="0">
              <a:solidFill>
                <a:schemeClr val="accent2"/>
              </a:solidFill>
              <a:ea typeface="华文中宋" panose="02010600040101010101" pitchFamily="2" charset="-122"/>
              <a:cs typeface="Arial" panose="020B0604020202020204" pitchFamily="34" charset="0"/>
              <a:sym typeface="+mn-lt"/>
            </a:endParaRPr>
          </a:p>
        </p:txBody>
      </p:sp>
      <p:cxnSp>
        <p:nvCxnSpPr>
          <p:cNvPr id="13" name="î$1îḓê">
            <a:extLst>
              <a:ext uri="{FF2B5EF4-FFF2-40B4-BE49-F238E27FC236}">
                <a16:creationId xmlns:a16="http://schemas.microsoft.com/office/drawing/2014/main" id="{FFCD1780-CE8E-4105-A0A8-D32676A6BFAC}"/>
              </a:ext>
            </a:extLst>
          </p:cNvPr>
          <p:cNvCxnSpPr>
            <a:cxnSpLocks/>
          </p:cNvCxnSpPr>
          <p:nvPr/>
        </p:nvCxnSpPr>
        <p:spPr>
          <a:xfrm>
            <a:off x="4875079" y="5254788"/>
            <a:ext cx="4703272" cy="0"/>
          </a:xfrm>
          <a:prstGeom prst="line">
            <a:avLst/>
          </a:prstGeom>
          <a:ln>
            <a:solidFill>
              <a:schemeClr val="bg2">
                <a:lumMod val="50000"/>
                <a:alpha val="75000"/>
              </a:schemeClr>
            </a:solidFill>
          </a:ln>
        </p:spPr>
        <p:style>
          <a:lnRef idx="1">
            <a:schemeClr val="accent1"/>
          </a:lnRef>
          <a:fillRef idx="0">
            <a:schemeClr val="accent1"/>
          </a:fillRef>
          <a:effectRef idx="0">
            <a:schemeClr val="accent1"/>
          </a:effectRef>
          <a:fontRef idx="minor">
            <a:schemeClr val="tx1"/>
          </a:fontRef>
        </p:style>
      </p:cxnSp>
      <p:pic>
        <p:nvPicPr>
          <p:cNvPr id="9" name="图片 8">
            <a:extLst>
              <a:ext uri="{FF2B5EF4-FFF2-40B4-BE49-F238E27FC236}">
                <a16:creationId xmlns:a16="http://schemas.microsoft.com/office/drawing/2014/main" id="{40F7C7BD-B4CE-4DBD-A146-AABDB1C8C550}"/>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840271" y="5289164"/>
            <a:ext cx="3243079" cy="633985"/>
          </a:xfrm>
          <a:prstGeom prst="rect">
            <a:avLst/>
          </a:prstGeom>
        </p:spPr>
      </p:pic>
    </p:spTree>
    <p:custDataLst>
      <p:tags r:id="rId1"/>
    </p:custDataLst>
    <p:extLst>
      <p:ext uri="{BB962C8B-B14F-4D97-AF65-F5344CB8AC3E}">
        <p14:creationId xmlns:p14="http://schemas.microsoft.com/office/powerpoint/2010/main" val="12590430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íŝḻiḋê"/>
        <p:cNvGrpSpPr/>
        <p:nvPr/>
      </p:nvGrpSpPr>
      <p:grpSpPr>
        <a:xfrm>
          <a:off x="0" y="0"/>
          <a:ext cx="0" cy="0"/>
          <a:chOff x="0" y="0"/>
          <a:chExt cx="0" cy="0"/>
        </a:xfrm>
      </p:grpSpPr>
      <p:sp>
        <p:nvSpPr>
          <p:cNvPr id="5" name="îşļídè"/>
          <p:cNvSpPr>
            <a:spLocks noGrp="1"/>
          </p:cNvSpPr>
          <p:nvPr>
            <p:ph type="title"/>
          </p:nvPr>
        </p:nvSpPr>
        <p:spPr>
          <a:xfrm>
            <a:off x="2400300" y="3429000"/>
            <a:ext cx="7391400" cy="895350"/>
          </a:xfrm>
        </p:spPr>
        <p:txBody>
          <a:bodyPr>
            <a:normAutofit/>
          </a:bodyPr>
          <a:lstStyle/>
          <a:p>
            <a:pPr algn="ctr" fontAlgn="base">
              <a:spcBef>
                <a:spcPct val="0"/>
              </a:spcBef>
              <a:spcAft>
                <a:spcPct val="0"/>
              </a:spcAft>
              <a:tabLst>
                <a:tab pos="227965" algn="l"/>
              </a:tabLst>
              <a:defRPr/>
            </a:pPr>
            <a:r>
              <a:rPr lang="en-US" altLang="zh-CN" sz="4000" b="1" i="0" strike="noStrike" dirty="0">
                <a:latin typeface="+mn-lt"/>
                <a:cs typeface="Arial" panose="020B0604020202020204" pitchFamily="34" charset="0"/>
                <a:sym typeface="+mn-lt"/>
              </a:rPr>
              <a:t>Background</a:t>
            </a:r>
            <a:endParaRPr lang="zh-CN" altLang="en-US" sz="4000" b="1" i="0" dirty="0">
              <a:latin typeface="+mn-lt"/>
              <a:cs typeface="Arial" panose="020B0604020202020204" pitchFamily="34" charset="0"/>
              <a:sym typeface="+mn-lt"/>
            </a:endParaRPr>
          </a:p>
        </p:txBody>
      </p:sp>
      <p:sp>
        <p:nvSpPr>
          <p:cNvPr id="9" name="ïsliḋé">
            <a:extLst>
              <a:ext uri="{FF2B5EF4-FFF2-40B4-BE49-F238E27FC236}">
                <a16:creationId xmlns:a16="http://schemas.microsoft.com/office/drawing/2014/main" id="{04F69230-F3A6-4586-9371-A858F4763E9F}"/>
              </a:ext>
            </a:extLst>
          </p:cNvPr>
          <p:cNvSpPr txBox="1"/>
          <p:nvPr/>
        </p:nvSpPr>
        <p:spPr>
          <a:xfrm>
            <a:off x="5623932" y="1816100"/>
            <a:ext cx="944136" cy="778380"/>
          </a:xfrm>
          <a:prstGeom prst="rect">
            <a:avLst/>
          </a:prstGeom>
          <a:noFill/>
          <a:ln w="117475">
            <a:noFill/>
          </a:ln>
        </p:spPr>
        <p:txBody>
          <a:bodyPr wrap="none" rtlCol="0">
            <a:prstTxWarp prst="textPlain">
              <a:avLst/>
            </a:prstTxWarp>
            <a:spAutoFit/>
          </a:bodyPr>
          <a:lstStyle/>
          <a:p>
            <a:r>
              <a:rPr lang="en-US" altLang="zh-CN" b="1" spc="-150">
                <a:solidFill>
                  <a:schemeClr val="bg1"/>
                </a:solidFill>
                <a:cs typeface="Arial" panose="020B0604020202020204" pitchFamily="34" charset="0"/>
                <a:sym typeface="+mn-lt"/>
              </a:rPr>
              <a:t>0</a:t>
            </a:r>
            <a:r>
              <a:rPr lang="en-US" altLang="zh-CN" sz="100" b="1" spc="-150">
                <a:solidFill>
                  <a:schemeClr val="bg1"/>
                </a:solidFill>
                <a:cs typeface="Arial" panose="020B0604020202020204" pitchFamily="34" charset="0"/>
                <a:sym typeface="+mn-lt"/>
              </a:rPr>
              <a:t> </a:t>
            </a:r>
            <a:r>
              <a:rPr lang="en-US" altLang="zh-CN" b="1" spc="-150">
                <a:solidFill>
                  <a:schemeClr val="bg1"/>
                </a:solidFill>
                <a:cs typeface="Arial" panose="020B0604020202020204" pitchFamily="34" charset="0"/>
                <a:sym typeface="+mn-lt"/>
              </a:rPr>
              <a:t>1</a:t>
            </a:r>
            <a:endParaRPr lang="zh-CN" altLang="en-US" b="1" spc="-150" dirty="0">
              <a:solidFill>
                <a:schemeClr val="bg1"/>
              </a:solidFill>
              <a:cs typeface="Arial" panose="020B0604020202020204" pitchFamily="34" charset="0"/>
              <a:sym typeface="+mn-lt"/>
            </a:endParaRPr>
          </a:p>
        </p:txBody>
      </p:sp>
    </p:spTree>
    <p:custDataLst>
      <p:tags r:id="rId1"/>
    </p:custDataLst>
    <p:extLst>
      <p:ext uri="{BB962C8B-B14F-4D97-AF65-F5344CB8AC3E}">
        <p14:creationId xmlns:p14="http://schemas.microsoft.com/office/powerpoint/2010/main" val="23715973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ïSľíḋé"/>
        <p:cNvGrpSpPr/>
        <p:nvPr/>
      </p:nvGrpSpPr>
      <p:grpSpPr>
        <a:xfrm>
          <a:off x="0" y="0"/>
          <a:ext cx="0" cy="0"/>
          <a:chOff x="0" y="0"/>
          <a:chExt cx="0" cy="0"/>
        </a:xfrm>
      </p:grpSpPr>
      <p:sp>
        <p:nvSpPr>
          <p:cNvPr id="2" name="îšḷiḍê">
            <a:extLst>
              <a:ext uri="{FF2B5EF4-FFF2-40B4-BE49-F238E27FC236}">
                <a16:creationId xmlns:a16="http://schemas.microsoft.com/office/drawing/2014/main" id="{9C7A7D55-0EFD-4217-9B31-9AFB501D0AAB}"/>
              </a:ext>
            </a:extLst>
          </p:cNvPr>
          <p:cNvSpPr>
            <a:spLocks noGrp="1"/>
          </p:cNvSpPr>
          <p:nvPr>
            <p:ph type="title"/>
          </p:nvPr>
        </p:nvSpPr>
        <p:spPr/>
        <p:txBody>
          <a:bodyPr/>
          <a:lstStyle/>
          <a:p>
            <a:pPr fontAlgn="base">
              <a:spcBef>
                <a:spcPct val="0"/>
              </a:spcBef>
              <a:spcAft>
                <a:spcPct val="0"/>
              </a:spcAft>
              <a:tabLst>
                <a:tab pos="227965" algn="l"/>
              </a:tabLst>
              <a:defRPr/>
            </a:pPr>
            <a:r>
              <a:rPr lang="en-US" altLang="zh-CN" sz="2800" b="1" i="0" strike="noStrike" dirty="0">
                <a:latin typeface="+mn-lt"/>
                <a:cs typeface="Arial" panose="020B0604020202020204" pitchFamily="34" charset="0"/>
                <a:sym typeface="+mn-lt"/>
              </a:rPr>
              <a:t>Background</a:t>
            </a:r>
            <a:r>
              <a:rPr lang="en-US" altLang="zh-CN" sz="1800" b="1" i="0" u="none" strike="noStrike" kern="1200" baseline="0" dirty="0">
                <a:solidFill>
                  <a:srgbClr val="000000"/>
                </a:solidFill>
                <a:latin typeface="Arial" panose="020B0604020202020204" pitchFamily="34" charset="0"/>
                <a:ea typeface="微软雅黑" panose="020B0503020204020204" pitchFamily="34" charset="-122"/>
              </a:rPr>
              <a:t> </a:t>
            </a:r>
            <a:endParaRPr lang="zh-CN" altLang="en-US" sz="2800" b="1" i="0" dirty="0">
              <a:latin typeface="+mn-lt"/>
              <a:cs typeface="Arial" panose="020B0604020202020204" pitchFamily="34" charset="0"/>
              <a:sym typeface="+mn-lt"/>
            </a:endParaRPr>
          </a:p>
        </p:txBody>
      </p:sp>
      <p:sp>
        <p:nvSpPr>
          <p:cNvPr id="4" name="iṥlîďé">
            <a:extLst>
              <a:ext uri="{FF2B5EF4-FFF2-40B4-BE49-F238E27FC236}">
                <a16:creationId xmlns:a16="http://schemas.microsoft.com/office/drawing/2014/main" id="{806D5CEF-5E75-45E9-A722-26F31F86487C}"/>
              </a:ext>
            </a:extLst>
          </p:cNvPr>
          <p:cNvSpPr>
            <a:spLocks noGrp="1"/>
          </p:cNvSpPr>
          <p:nvPr>
            <p:ph type="sldNum" sz="quarter" idx="12"/>
          </p:nvPr>
        </p:nvSpPr>
        <p:spPr/>
        <p:txBody>
          <a:bodyPr/>
          <a:lstStyle/>
          <a:p>
            <a:fld id="{5DD3DB80-B894-403A-B48E-6FDC1A72010E}" type="slidenum">
              <a:rPr lang="zh-CN" altLang="en-US" smtClean="0">
                <a:sym typeface="+mn-lt"/>
              </a:rPr>
              <a:pPr/>
              <a:t>4</a:t>
            </a:fld>
            <a:endParaRPr lang="zh-CN" altLang="en-US">
              <a:sym typeface="+mn-lt"/>
            </a:endParaRPr>
          </a:p>
        </p:txBody>
      </p:sp>
      <p:grpSp>
        <p:nvGrpSpPr>
          <p:cNvPr id="251" name="iṡľíde"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9190BC97-F8CE-49C2-97F0-77035FEA7A27}"/>
              </a:ext>
            </a:extLst>
          </p:cNvPr>
          <p:cNvGrpSpPr>
            <a:grpSpLocks noChangeAspect="1"/>
          </p:cNvGrpSpPr>
          <p:nvPr/>
        </p:nvGrpSpPr>
        <p:grpSpPr>
          <a:xfrm>
            <a:off x="669927" y="1297888"/>
            <a:ext cx="10609187" cy="5061263"/>
            <a:chOff x="606282" y="1101990"/>
            <a:chExt cx="10609187" cy="5820304"/>
          </a:xfrm>
        </p:grpSpPr>
        <p:sp>
          <p:nvSpPr>
            <p:cNvPr id="290" name="îṩlíḋé">
              <a:extLst>
                <a:ext uri="{FF2B5EF4-FFF2-40B4-BE49-F238E27FC236}">
                  <a16:creationId xmlns:a16="http://schemas.microsoft.com/office/drawing/2014/main" id="{6A18625B-5C1D-40EC-A772-7D6BEC0A509D}"/>
                </a:ext>
              </a:extLst>
            </p:cNvPr>
            <p:cNvSpPr/>
            <p:nvPr/>
          </p:nvSpPr>
          <p:spPr bwMode="auto">
            <a:xfrm>
              <a:off x="7395311" y="1101990"/>
              <a:ext cx="3820158" cy="5701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10000"/>
                </a:lnSpc>
                <a:spcBef>
                  <a:spcPct val="0"/>
                </a:spcBef>
              </a:pPr>
              <a:r>
                <a:rPr lang="en-US" altLang="zh-CN" dirty="0">
                  <a:effectLst/>
                  <a:latin typeface="Arial" panose="020B0604020202020204" pitchFamily="34" charset="0"/>
                </a:rPr>
                <a:t>In another study, Omar put forward </a:t>
              </a:r>
              <a:r>
                <a:rPr lang="en-US" altLang="zh-CN" dirty="0">
                  <a:latin typeface="Arial" panose="020B0604020202020204" pitchFamily="34" charset="0"/>
                </a:rPr>
                <a:t>a model </a:t>
              </a:r>
              <a:r>
                <a:rPr lang="en-US" altLang="zh-CN" dirty="0">
                  <a:effectLst/>
                  <a:latin typeface="Arial" panose="020B0604020202020204" pitchFamily="34" charset="0"/>
                </a:rPr>
                <a:t>which provides accountability, integrity, pseudonymity, security and privacy by storing encrypted medical data on blockchain and giving patients full control over their data. Here the data senders are the patients themselves and the data receivers are doctors, hospitals etc. Only registered users can communicate with the blockchain. It uses cryptography with blockchain to tackle data preserving vulnerabilities. </a:t>
              </a:r>
              <a:endParaRPr lang="en-US" altLang="zh-CN" sz="1600" dirty="0">
                <a:sym typeface="+mn-lt"/>
              </a:endParaRPr>
            </a:p>
          </p:txBody>
        </p:sp>
        <p:grpSp>
          <p:nvGrpSpPr>
            <p:cNvPr id="253" name="íš1ïďe">
              <a:extLst>
                <a:ext uri="{FF2B5EF4-FFF2-40B4-BE49-F238E27FC236}">
                  <a16:creationId xmlns:a16="http://schemas.microsoft.com/office/drawing/2014/main" id="{5F0D9CEF-5052-4EEE-9890-2E5D107FABEB}"/>
                </a:ext>
              </a:extLst>
            </p:cNvPr>
            <p:cNvGrpSpPr/>
            <p:nvPr/>
          </p:nvGrpSpPr>
          <p:grpSpPr>
            <a:xfrm>
              <a:off x="606282" y="1101990"/>
              <a:ext cx="4416639" cy="5820304"/>
              <a:chOff x="606282" y="1273035"/>
              <a:chExt cx="4416639" cy="5820304"/>
            </a:xfrm>
          </p:grpSpPr>
          <p:grpSp>
            <p:nvGrpSpPr>
              <p:cNvPr id="279" name="iS1ïḋê">
                <a:extLst>
                  <a:ext uri="{FF2B5EF4-FFF2-40B4-BE49-F238E27FC236}">
                    <a16:creationId xmlns:a16="http://schemas.microsoft.com/office/drawing/2014/main" id="{302E5685-900F-4034-8FF4-31A123CBC208}"/>
                  </a:ext>
                </a:extLst>
              </p:cNvPr>
              <p:cNvGrpSpPr/>
              <p:nvPr/>
            </p:nvGrpSpPr>
            <p:grpSpPr>
              <a:xfrm>
                <a:off x="660401" y="1744864"/>
                <a:ext cx="3608787" cy="2055381"/>
                <a:chOff x="660401" y="1783328"/>
                <a:chExt cx="3344898" cy="2055381"/>
              </a:xfrm>
            </p:grpSpPr>
            <p:sp>
              <p:nvSpPr>
                <p:cNvPr id="288" name="í$ḻîḋè">
                  <a:extLst>
                    <a:ext uri="{FF2B5EF4-FFF2-40B4-BE49-F238E27FC236}">
                      <a16:creationId xmlns:a16="http://schemas.microsoft.com/office/drawing/2014/main" id="{B003B68E-B03F-453D-8857-A9958ECAE224}"/>
                    </a:ext>
                  </a:extLst>
                </p:cNvPr>
                <p:cNvSpPr/>
                <p:nvPr/>
              </p:nvSpPr>
              <p:spPr bwMode="auto">
                <a:xfrm>
                  <a:off x="660401" y="2168605"/>
                  <a:ext cx="3344898" cy="1670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lnSpc>
                      <a:spcPct val="150000"/>
                    </a:lnSpc>
                    <a:spcBef>
                      <a:spcPct val="0"/>
                    </a:spcBef>
                    <a:buFont typeface="Arial" panose="020B0604020202020204" pitchFamily="34" charset="0"/>
                    <a:buChar char="•"/>
                  </a:pPr>
                  <a:endParaRPr lang="en-US" altLang="zh-CN" sz="1600" dirty="0">
                    <a:sym typeface="+mn-lt"/>
                  </a:endParaRPr>
                </a:p>
              </p:txBody>
            </p:sp>
            <p:sp>
              <p:nvSpPr>
                <p:cNvPr id="289" name="íṣlïḑê">
                  <a:extLst>
                    <a:ext uri="{FF2B5EF4-FFF2-40B4-BE49-F238E27FC236}">
                      <a16:creationId xmlns:a16="http://schemas.microsoft.com/office/drawing/2014/main" id="{172204C1-CA66-4E1A-90AC-F2DBAF4CC0BA}"/>
                    </a:ext>
                  </a:extLst>
                </p:cNvPr>
                <p:cNvSpPr txBox="1"/>
                <p:nvPr/>
              </p:nvSpPr>
              <p:spPr bwMode="auto">
                <a:xfrm>
                  <a:off x="696272" y="1783328"/>
                  <a:ext cx="3131556"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ct val="0"/>
                    </a:spcBef>
                  </a:pPr>
                  <a:endParaRPr lang="en-US" altLang="zh-CN" sz="2000" b="1" dirty="0">
                    <a:sym typeface="+mn-lt"/>
                  </a:endParaRPr>
                </a:p>
              </p:txBody>
            </p:sp>
          </p:grpSp>
          <p:sp>
            <p:nvSpPr>
              <p:cNvPr id="286" name="îṡlïde">
                <a:extLst>
                  <a:ext uri="{FF2B5EF4-FFF2-40B4-BE49-F238E27FC236}">
                    <a16:creationId xmlns:a16="http://schemas.microsoft.com/office/drawing/2014/main" id="{C860B366-8AFF-44B0-8553-8AA841EBE5E2}"/>
                  </a:ext>
                </a:extLst>
              </p:cNvPr>
              <p:cNvSpPr/>
              <p:nvPr/>
            </p:nvSpPr>
            <p:spPr bwMode="auto">
              <a:xfrm>
                <a:off x="606282" y="1273035"/>
                <a:ext cx="4416639" cy="5820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dirty="0">
                    <a:effectLst/>
                    <a:latin typeface="Arial" panose="020B0604020202020204" pitchFamily="34" charset="0"/>
                  </a:rPr>
                  <a:t>The first ever functioning prototype has been proposed by Azaria which integrates blockchain to handle EMRs (Electronic Medical Record). Patients are given full control over their data. Medical stakeholders act as miners who are incentivized in two ways. Permissions associated with medical records are handled by smart contracts deployed on Ethereum. Later, data exchange is handled off chain between pre-existing centralized trusted databases. At every node, patient medical records are stored locally.</a:t>
                </a:r>
                <a:endParaRPr lang="zh-CN" altLang="en-US" sz="1800" dirty="0">
                  <a:latin typeface="宋体" panose="02010600030101010101" pitchFamily="2" charset="-122"/>
                  <a:ea typeface="宋体" panose="02010600030101010101" pitchFamily="2" charset="-122"/>
                </a:endParaRPr>
              </a:p>
            </p:txBody>
          </p:sp>
        </p:grpSp>
        <p:sp>
          <p:nvSpPr>
            <p:cNvPr id="254" name="iş1ïďe">
              <a:extLst>
                <a:ext uri="{FF2B5EF4-FFF2-40B4-BE49-F238E27FC236}">
                  <a16:creationId xmlns:a16="http://schemas.microsoft.com/office/drawing/2014/main" id="{666D91D6-7837-4B72-83AB-BC85C52A2DE1}"/>
                </a:ext>
              </a:extLst>
            </p:cNvPr>
            <p:cNvSpPr/>
            <p:nvPr/>
          </p:nvSpPr>
          <p:spPr>
            <a:xfrm>
              <a:off x="5045728" y="4193748"/>
              <a:ext cx="592454" cy="648228"/>
            </a:xfrm>
            <a:prstGeom prst="rect">
              <a:avLst/>
            </a:prstGeom>
            <a:solidFill>
              <a:schemeClr val="tx1">
                <a:lumMod val="50000"/>
                <a:lumOff val="50000"/>
              </a:schemeClr>
            </a:solidFill>
            <a:ln w="12700" cap="flat">
              <a:noFill/>
              <a:miter lim="400000"/>
            </a:ln>
            <a:effectLst/>
          </p:spPr>
          <p:txBody>
            <a:bodyPr wrap="square" lIns="90000" tIns="46800" rIns="90000" bIns="46800" numCol="1"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sz="3200" cap="none">
                  <a:solidFill>
                    <a:srgbClr val="FFFFFF"/>
                  </a:solidFill>
                </a:defRPr>
              </a:pPr>
              <a:r>
                <a:rPr lang="en-US" altLang="zh-CN" sz="2800" b="1" dirty="0">
                  <a:sym typeface="+mn-lt"/>
                </a:rPr>
                <a:t>1</a:t>
              </a:r>
              <a:endParaRPr sz="2800" b="1" dirty="0">
                <a:sym typeface="+mn-lt"/>
              </a:endParaRPr>
            </a:p>
          </p:txBody>
        </p:sp>
        <p:sp>
          <p:nvSpPr>
            <p:cNvPr id="255" name="îsļiďè">
              <a:extLst>
                <a:ext uri="{FF2B5EF4-FFF2-40B4-BE49-F238E27FC236}">
                  <a16:creationId xmlns:a16="http://schemas.microsoft.com/office/drawing/2014/main" id="{2BF579AD-1893-4D7E-98B6-7C3A9CBC1533}"/>
                </a:ext>
              </a:extLst>
            </p:cNvPr>
            <p:cNvSpPr/>
            <p:nvPr/>
          </p:nvSpPr>
          <p:spPr>
            <a:xfrm>
              <a:off x="5048515" y="3801629"/>
              <a:ext cx="1267729" cy="1432924"/>
            </a:xfrm>
            <a:custGeom>
              <a:avLst/>
              <a:gdLst/>
              <a:ahLst/>
              <a:cxnLst>
                <a:cxn ang="0">
                  <a:pos x="wd2" y="hd2"/>
                </a:cxn>
                <a:cxn ang="5400000">
                  <a:pos x="wd2" y="hd2"/>
                </a:cxn>
                <a:cxn ang="10800000">
                  <a:pos x="wd2" y="hd2"/>
                </a:cxn>
                <a:cxn ang="16200000">
                  <a:pos x="wd2" y="hd2"/>
                </a:cxn>
              </a:cxnLst>
              <a:rect l="0" t="0" r="r" b="b"/>
              <a:pathLst>
                <a:path w="21600" h="21585" extrusionOk="0">
                  <a:moveTo>
                    <a:pt x="9959" y="21394"/>
                  </a:moveTo>
                  <a:lnTo>
                    <a:pt x="894" y="16867"/>
                  </a:lnTo>
                  <a:cubicBezTo>
                    <a:pt x="639" y="16746"/>
                    <a:pt x="423" y="16570"/>
                    <a:pt x="267" y="16355"/>
                  </a:cubicBezTo>
                  <a:cubicBezTo>
                    <a:pt x="112" y="16144"/>
                    <a:pt x="21" y="15901"/>
                    <a:pt x="0" y="15650"/>
                  </a:cubicBezTo>
                  <a:lnTo>
                    <a:pt x="0" y="15204"/>
                  </a:lnTo>
                  <a:lnTo>
                    <a:pt x="4900" y="15204"/>
                  </a:lnTo>
                  <a:cubicBezTo>
                    <a:pt x="7542" y="14971"/>
                    <a:pt x="9522" y="12961"/>
                    <a:pt x="9421" y="10615"/>
                  </a:cubicBezTo>
                  <a:cubicBezTo>
                    <a:pt x="9326" y="8405"/>
                    <a:pt x="7391" y="6600"/>
                    <a:pt x="4900" y="6397"/>
                  </a:cubicBezTo>
                  <a:lnTo>
                    <a:pt x="27" y="6397"/>
                  </a:lnTo>
                  <a:lnTo>
                    <a:pt x="27" y="5923"/>
                  </a:lnTo>
                  <a:cubicBezTo>
                    <a:pt x="85" y="5665"/>
                    <a:pt x="211" y="5422"/>
                    <a:pt x="397" y="5217"/>
                  </a:cubicBezTo>
                  <a:cubicBezTo>
                    <a:pt x="575" y="5018"/>
                    <a:pt x="804" y="4859"/>
                    <a:pt x="1063" y="4752"/>
                  </a:cubicBezTo>
                  <a:lnTo>
                    <a:pt x="10162" y="171"/>
                  </a:lnTo>
                  <a:cubicBezTo>
                    <a:pt x="10359" y="70"/>
                    <a:pt x="10581" y="12"/>
                    <a:pt x="10809" y="2"/>
                  </a:cubicBezTo>
                  <a:cubicBezTo>
                    <a:pt x="11087" y="-11"/>
                    <a:pt x="11364" y="48"/>
                    <a:pt x="11606" y="171"/>
                  </a:cubicBezTo>
                  <a:lnTo>
                    <a:pt x="20633" y="4823"/>
                  </a:lnTo>
                  <a:cubicBezTo>
                    <a:pt x="20937" y="4962"/>
                    <a:pt x="21189" y="5176"/>
                    <a:pt x="21361" y="5438"/>
                  </a:cubicBezTo>
                  <a:cubicBezTo>
                    <a:pt x="21505" y="5658"/>
                    <a:pt x="21587" y="5906"/>
                    <a:pt x="21600" y="6161"/>
                  </a:cubicBezTo>
                  <a:lnTo>
                    <a:pt x="21600" y="15566"/>
                  </a:lnTo>
                  <a:cubicBezTo>
                    <a:pt x="21586" y="15801"/>
                    <a:pt x="21504" y="16029"/>
                    <a:pt x="21364" y="16228"/>
                  </a:cubicBezTo>
                  <a:cubicBezTo>
                    <a:pt x="21201" y="16460"/>
                    <a:pt x="20966" y="16645"/>
                    <a:pt x="20686" y="16760"/>
                  </a:cubicBezTo>
                  <a:lnTo>
                    <a:pt x="11713" y="21383"/>
                  </a:lnTo>
                  <a:cubicBezTo>
                    <a:pt x="11433" y="21519"/>
                    <a:pt x="11119" y="21589"/>
                    <a:pt x="10800" y="21585"/>
                  </a:cubicBezTo>
                  <a:cubicBezTo>
                    <a:pt x="10506" y="21582"/>
                    <a:pt x="10218" y="21516"/>
                    <a:pt x="9959" y="21394"/>
                  </a:cubicBezTo>
                  <a:close/>
                </a:path>
              </a:pathLst>
            </a:custGeom>
            <a:solidFill>
              <a:schemeClr val="bg1">
                <a:lumMod val="95000"/>
              </a:schemeClr>
            </a:solidFill>
            <a:ln w="12700" cap="flat">
              <a:noFill/>
              <a:miter lim="400000"/>
            </a:ln>
            <a:effectLst/>
          </p:spPr>
          <p:txBody>
            <a:bodyPr wrap="square" lIns="71437" tIns="71437" rIns="71437" bIns="71437" numCol="1"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sz="3200" cap="none">
                  <a:solidFill>
                    <a:srgbClr val="000000"/>
                  </a:solidFill>
                </a:defRPr>
              </a:pPr>
              <a:endParaRPr>
                <a:sym typeface="+mn-lt"/>
              </a:endParaRPr>
            </a:p>
          </p:txBody>
        </p:sp>
        <p:sp>
          <p:nvSpPr>
            <p:cNvPr id="256" name="ïşḻîḑé">
              <a:extLst>
                <a:ext uri="{FF2B5EF4-FFF2-40B4-BE49-F238E27FC236}">
                  <a16:creationId xmlns:a16="http://schemas.microsoft.com/office/drawing/2014/main" id="{77EC2449-6362-4DB1-A0A5-8B108710B23A}"/>
                </a:ext>
              </a:extLst>
            </p:cNvPr>
            <p:cNvSpPr/>
            <p:nvPr/>
          </p:nvSpPr>
          <p:spPr>
            <a:xfrm>
              <a:off x="5682380" y="3801629"/>
              <a:ext cx="628814" cy="1432469"/>
            </a:xfrm>
            <a:custGeom>
              <a:avLst/>
              <a:gdLst/>
              <a:ahLst/>
              <a:cxnLst>
                <a:cxn ang="0">
                  <a:pos x="wd2" y="hd2"/>
                </a:cxn>
                <a:cxn ang="5400000">
                  <a:pos x="wd2" y="hd2"/>
                </a:cxn>
                <a:cxn ang="10800000">
                  <a:pos x="wd2" y="hd2"/>
                </a:cxn>
                <a:cxn ang="16200000">
                  <a:pos x="wd2" y="hd2"/>
                </a:cxn>
              </a:cxnLst>
              <a:rect l="0" t="0" r="r" b="b"/>
              <a:pathLst>
                <a:path w="21595" h="21595" extrusionOk="0">
                  <a:moveTo>
                    <a:pt x="0" y="4"/>
                  </a:moveTo>
                  <a:lnTo>
                    <a:pt x="38" y="21595"/>
                  </a:lnTo>
                  <a:cubicBezTo>
                    <a:pt x="429" y="21576"/>
                    <a:pt x="813" y="21536"/>
                    <a:pt x="1181" y="21474"/>
                  </a:cubicBezTo>
                  <a:cubicBezTo>
                    <a:pt x="1609" y="21403"/>
                    <a:pt x="2011" y="21305"/>
                    <a:pt x="2374" y="21182"/>
                  </a:cubicBezTo>
                  <a:lnTo>
                    <a:pt x="19601" y="16781"/>
                  </a:lnTo>
                  <a:cubicBezTo>
                    <a:pt x="20180" y="16663"/>
                    <a:pt x="20673" y="16477"/>
                    <a:pt x="21025" y="16244"/>
                  </a:cubicBezTo>
                  <a:cubicBezTo>
                    <a:pt x="21401" y="15993"/>
                    <a:pt x="21600" y="15699"/>
                    <a:pt x="21595" y="15399"/>
                  </a:cubicBezTo>
                  <a:lnTo>
                    <a:pt x="21561" y="6225"/>
                  </a:lnTo>
                  <a:cubicBezTo>
                    <a:pt x="21577" y="5922"/>
                    <a:pt x="21395" y="5623"/>
                    <a:pt x="21034" y="5364"/>
                  </a:cubicBezTo>
                  <a:cubicBezTo>
                    <a:pt x="20684" y="5112"/>
                    <a:pt x="20180" y="4908"/>
                    <a:pt x="19579" y="4776"/>
                  </a:cubicBezTo>
                  <a:lnTo>
                    <a:pt x="1486" y="160"/>
                  </a:lnTo>
                  <a:cubicBezTo>
                    <a:pt x="1247" y="95"/>
                    <a:pt x="983" y="48"/>
                    <a:pt x="707" y="23"/>
                  </a:cubicBezTo>
                  <a:cubicBezTo>
                    <a:pt x="474" y="1"/>
                    <a:pt x="236" y="-5"/>
                    <a:pt x="0" y="4"/>
                  </a:cubicBezTo>
                  <a:close/>
                </a:path>
              </a:pathLst>
            </a:custGeom>
            <a:solidFill>
              <a:schemeClr val="bg1">
                <a:lumMod val="85000"/>
              </a:schemeClr>
            </a:solidFill>
            <a:ln w="12700" cap="flat">
              <a:noFill/>
              <a:miter lim="400000"/>
            </a:ln>
            <a:effectLst/>
          </p:spPr>
          <p:txBody>
            <a:bodyPr wrap="square" lIns="71437" tIns="71437" rIns="71437" bIns="71437" numCol="1"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sz="3200" cap="none">
                  <a:solidFill>
                    <a:srgbClr val="000000"/>
                  </a:solidFill>
                </a:defRPr>
              </a:pPr>
              <a:endParaRPr dirty="0">
                <a:sym typeface="+mn-lt"/>
              </a:endParaRPr>
            </a:p>
          </p:txBody>
        </p:sp>
        <p:grpSp>
          <p:nvGrpSpPr>
            <p:cNvPr id="264" name="ï$ļiḓé">
              <a:extLst>
                <a:ext uri="{FF2B5EF4-FFF2-40B4-BE49-F238E27FC236}">
                  <a16:creationId xmlns:a16="http://schemas.microsoft.com/office/drawing/2014/main" id="{13C6378D-A5E6-4438-8FD0-596923861B24}"/>
                </a:ext>
              </a:extLst>
            </p:cNvPr>
            <p:cNvGrpSpPr/>
            <p:nvPr/>
          </p:nvGrpSpPr>
          <p:grpSpPr>
            <a:xfrm>
              <a:off x="5664551" y="2728783"/>
              <a:ext cx="1280508" cy="1440743"/>
              <a:chOff x="5664551" y="2728783"/>
              <a:chExt cx="1280508" cy="1440743"/>
            </a:xfrm>
          </p:grpSpPr>
          <p:sp>
            <p:nvSpPr>
              <p:cNvPr id="275" name="îṡlïḋé">
                <a:extLst>
                  <a:ext uri="{FF2B5EF4-FFF2-40B4-BE49-F238E27FC236}">
                    <a16:creationId xmlns:a16="http://schemas.microsoft.com/office/drawing/2014/main" id="{10C901E3-11B5-46C0-9C44-D84405C027F3}"/>
                  </a:ext>
                </a:extLst>
              </p:cNvPr>
              <p:cNvSpPr/>
              <p:nvPr/>
            </p:nvSpPr>
            <p:spPr>
              <a:xfrm>
                <a:off x="5671007" y="3121130"/>
                <a:ext cx="592454" cy="648228"/>
              </a:xfrm>
              <a:prstGeom prst="rect">
                <a:avLst/>
              </a:prstGeom>
              <a:solidFill>
                <a:schemeClr val="accent1"/>
              </a:solidFill>
              <a:ln w="12700" cap="flat">
                <a:noFill/>
                <a:miter lim="400000"/>
              </a:ln>
              <a:effectLst/>
            </p:spPr>
            <p:txBody>
              <a:bodyPr wrap="square" lIns="90000" tIns="46800" rIns="90000" bIns="46800" numCol="1"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sz="3200" cap="none">
                    <a:solidFill>
                      <a:srgbClr val="FFFFFF"/>
                    </a:solidFill>
                  </a:defRPr>
                </a:pPr>
                <a:r>
                  <a:rPr lang="en-US" altLang="zh-CN" sz="2800" b="1" dirty="0">
                    <a:sym typeface="+mn-lt"/>
                  </a:rPr>
                  <a:t>2</a:t>
                </a:r>
                <a:endParaRPr sz="2800" b="1" dirty="0">
                  <a:sym typeface="+mn-lt"/>
                </a:endParaRPr>
              </a:p>
            </p:txBody>
          </p:sp>
          <p:sp>
            <p:nvSpPr>
              <p:cNvPr id="276" name="íSľíḍe">
                <a:extLst>
                  <a:ext uri="{FF2B5EF4-FFF2-40B4-BE49-F238E27FC236}">
                    <a16:creationId xmlns:a16="http://schemas.microsoft.com/office/drawing/2014/main" id="{90313173-A221-49B0-8B66-A047D2FC33F5}"/>
                  </a:ext>
                </a:extLst>
              </p:cNvPr>
              <p:cNvSpPr/>
              <p:nvPr/>
            </p:nvSpPr>
            <p:spPr>
              <a:xfrm>
                <a:off x="5664551" y="2728783"/>
                <a:ext cx="1267729" cy="1432924"/>
              </a:xfrm>
              <a:custGeom>
                <a:avLst/>
                <a:gdLst/>
                <a:ahLst/>
                <a:cxnLst>
                  <a:cxn ang="0">
                    <a:pos x="wd2" y="hd2"/>
                  </a:cxn>
                  <a:cxn ang="5400000">
                    <a:pos x="wd2" y="hd2"/>
                  </a:cxn>
                  <a:cxn ang="10800000">
                    <a:pos x="wd2" y="hd2"/>
                  </a:cxn>
                  <a:cxn ang="16200000">
                    <a:pos x="wd2" y="hd2"/>
                  </a:cxn>
                </a:cxnLst>
                <a:rect l="0" t="0" r="r" b="b"/>
                <a:pathLst>
                  <a:path w="21600" h="21585" extrusionOk="0">
                    <a:moveTo>
                      <a:pt x="9959" y="21394"/>
                    </a:moveTo>
                    <a:lnTo>
                      <a:pt x="894" y="16867"/>
                    </a:lnTo>
                    <a:cubicBezTo>
                      <a:pt x="639" y="16746"/>
                      <a:pt x="423" y="16570"/>
                      <a:pt x="267" y="16355"/>
                    </a:cubicBezTo>
                    <a:cubicBezTo>
                      <a:pt x="112" y="16144"/>
                      <a:pt x="21" y="15901"/>
                      <a:pt x="0" y="15650"/>
                    </a:cubicBezTo>
                    <a:lnTo>
                      <a:pt x="0" y="15204"/>
                    </a:lnTo>
                    <a:lnTo>
                      <a:pt x="4900" y="15204"/>
                    </a:lnTo>
                    <a:cubicBezTo>
                      <a:pt x="7542" y="14971"/>
                      <a:pt x="9522" y="12961"/>
                      <a:pt x="9421" y="10615"/>
                    </a:cubicBezTo>
                    <a:cubicBezTo>
                      <a:pt x="9326" y="8405"/>
                      <a:pt x="7391" y="6600"/>
                      <a:pt x="4900" y="6397"/>
                    </a:cubicBezTo>
                    <a:lnTo>
                      <a:pt x="27" y="6397"/>
                    </a:lnTo>
                    <a:lnTo>
                      <a:pt x="27" y="5923"/>
                    </a:lnTo>
                    <a:cubicBezTo>
                      <a:pt x="85" y="5665"/>
                      <a:pt x="211" y="5422"/>
                      <a:pt x="397" y="5217"/>
                    </a:cubicBezTo>
                    <a:cubicBezTo>
                      <a:pt x="575" y="5018"/>
                      <a:pt x="804" y="4859"/>
                      <a:pt x="1063" y="4752"/>
                    </a:cubicBezTo>
                    <a:lnTo>
                      <a:pt x="10162" y="171"/>
                    </a:lnTo>
                    <a:cubicBezTo>
                      <a:pt x="10359" y="70"/>
                      <a:pt x="10581" y="12"/>
                      <a:pt x="10809" y="2"/>
                    </a:cubicBezTo>
                    <a:cubicBezTo>
                      <a:pt x="11087" y="-11"/>
                      <a:pt x="11364" y="48"/>
                      <a:pt x="11606" y="171"/>
                    </a:cubicBezTo>
                    <a:lnTo>
                      <a:pt x="20633" y="4823"/>
                    </a:lnTo>
                    <a:cubicBezTo>
                      <a:pt x="20937" y="4962"/>
                      <a:pt x="21189" y="5176"/>
                      <a:pt x="21361" y="5438"/>
                    </a:cubicBezTo>
                    <a:cubicBezTo>
                      <a:pt x="21505" y="5658"/>
                      <a:pt x="21587" y="5906"/>
                      <a:pt x="21600" y="6161"/>
                    </a:cubicBezTo>
                    <a:lnTo>
                      <a:pt x="21600" y="15566"/>
                    </a:lnTo>
                    <a:cubicBezTo>
                      <a:pt x="21586" y="15801"/>
                      <a:pt x="21504" y="16029"/>
                      <a:pt x="21364" y="16228"/>
                    </a:cubicBezTo>
                    <a:cubicBezTo>
                      <a:pt x="21201" y="16460"/>
                      <a:pt x="20966" y="16645"/>
                      <a:pt x="20686" y="16760"/>
                    </a:cubicBezTo>
                    <a:lnTo>
                      <a:pt x="11713" y="21383"/>
                    </a:lnTo>
                    <a:cubicBezTo>
                      <a:pt x="11433" y="21519"/>
                      <a:pt x="11119" y="21589"/>
                      <a:pt x="10800" y="21585"/>
                    </a:cubicBezTo>
                    <a:cubicBezTo>
                      <a:pt x="10506" y="21582"/>
                      <a:pt x="10218" y="21516"/>
                      <a:pt x="9959" y="21394"/>
                    </a:cubicBezTo>
                    <a:close/>
                  </a:path>
                </a:pathLst>
              </a:custGeom>
              <a:solidFill>
                <a:schemeClr val="bg1">
                  <a:lumMod val="95000"/>
                </a:schemeClr>
              </a:solidFill>
              <a:ln w="12700" cap="flat">
                <a:noFill/>
                <a:miter lim="400000"/>
              </a:ln>
              <a:effectLst/>
            </p:spPr>
            <p:txBody>
              <a:bodyPr wrap="square" lIns="71437" tIns="71437" rIns="71437" bIns="71437" numCol="1"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sz="3200" cap="none">
                    <a:solidFill>
                      <a:srgbClr val="000000"/>
                    </a:solidFill>
                  </a:defRPr>
                </a:pPr>
                <a:endParaRPr>
                  <a:sym typeface="+mn-lt"/>
                </a:endParaRPr>
              </a:p>
            </p:txBody>
          </p:sp>
          <p:sp>
            <p:nvSpPr>
              <p:cNvPr id="277" name="íṧḷiḋé">
                <a:extLst>
                  <a:ext uri="{FF2B5EF4-FFF2-40B4-BE49-F238E27FC236}">
                    <a16:creationId xmlns:a16="http://schemas.microsoft.com/office/drawing/2014/main" id="{3196950D-2417-4E02-BA8E-B18CC000102A}"/>
                  </a:ext>
                </a:extLst>
              </p:cNvPr>
              <p:cNvSpPr/>
              <p:nvPr/>
            </p:nvSpPr>
            <p:spPr>
              <a:xfrm>
                <a:off x="6316245" y="2737057"/>
                <a:ext cx="628814" cy="1432469"/>
              </a:xfrm>
              <a:custGeom>
                <a:avLst/>
                <a:gdLst/>
                <a:ahLst/>
                <a:cxnLst>
                  <a:cxn ang="0">
                    <a:pos x="wd2" y="hd2"/>
                  </a:cxn>
                  <a:cxn ang="5400000">
                    <a:pos x="wd2" y="hd2"/>
                  </a:cxn>
                  <a:cxn ang="10800000">
                    <a:pos x="wd2" y="hd2"/>
                  </a:cxn>
                  <a:cxn ang="16200000">
                    <a:pos x="wd2" y="hd2"/>
                  </a:cxn>
                </a:cxnLst>
                <a:rect l="0" t="0" r="r" b="b"/>
                <a:pathLst>
                  <a:path w="21595" h="21595" extrusionOk="0">
                    <a:moveTo>
                      <a:pt x="0" y="4"/>
                    </a:moveTo>
                    <a:lnTo>
                      <a:pt x="38" y="21595"/>
                    </a:lnTo>
                    <a:cubicBezTo>
                      <a:pt x="429" y="21576"/>
                      <a:pt x="813" y="21536"/>
                      <a:pt x="1181" y="21474"/>
                    </a:cubicBezTo>
                    <a:cubicBezTo>
                      <a:pt x="1609" y="21403"/>
                      <a:pt x="2011" y="21305"/>
                      <a:pt x="2374" y="21182"/>
                    </a:cubicBezTo>
                    <a:lnTo>
                      <a:pt x="19601" y="16781"/>
                    </a:lnTo>
                    <a:cubicBezTo>
                      <a:pt x="20180" y="16663"/>
                      <a:pt x="20673" y="16477"/>
                      <a:pt x="21025" y="16244"/>
                    </a:cubicBezTo>
                    <a:cubicBezTo>
                      <a:pt x="21401" y="15993"/>
                      <a:pt x="21600" y="15699"/>
                      <a:pt x="21595" y="15399"/>
                    </a:cubicBezTo>
                    <a:lnTo>
                      <a:pt x="21561" y="6225"/>
                    </a:lnTo>
                    <a:cubicBezTo>
                      <a:pt x="21577" y="5922"/>
                      <a:pt x="21395" y="5623"/>
                      <a:pt x="21034" y="5364"/>
                    </a:cubicBezTo>
                    <a:cubicBezTo>
                      <a:pt x="20684" y="5112"/>
                      <a:pt x="20180" y="4908"/>
                      <a:pt x="19579" y="4776"/>
                    </a:cubicBezTo>
                    <a:lnTo>
                      <a:pt x="1486" y="160"/>
                    </a:lnTo>
                    <a:cubicBezTo>
                      <a:pt x="1247" y="95"/>
                      <a:pt x="983" y="48"/>
                      <a:pt x="707" y="23"/>
                    </a:cubicBezTo>
                    <a:cubicBezTo>
                      <a:pt x="474" y="1"/>
                      <a:pt x="236" y="-5"/>
                      <a:pt x="0" y="4"/>
                    </a:cubicBezTo>
                    <a:close/>
                  </a:path>
                </a:pathLst>
              </a:custGeom>
              <a:solidFill>
                <a:schemeClr val="bg1">
                  <a:lumMod val="85000"/>
                </a:schemeClr>
              </a:solidFill>
              <a:ln w="12700" cap="flat">
                <a:noFill/>
                <a:miter lim="400000"/>
              </a:ln>
              <a:effectLst/>
            </p:spPr>
            <p:txBody>
              <a:bodyPr wrap="square" lIns="71437" tIns="71437" rIns="71437" bIns="71437" numCol="1"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sz="3200" cap="none">
                    <a:solidFill>
                      <a:srgbClr val="000000"/>
                    </a:solidFill>
                  </a:defRPr>
                </a:pPr>
                <a:endParaRPr dirty="0">
                  <a:sym typeface="+mn-lt"/>
                </a:endParaRPr>
              </a:p>
            </p:txBody>
          </p:sp>
        </p:grpSp>
      </p:grpSp>
    </p:spTree>
    <p:custDataLst>
      <p:tags r:id="rId1"/>
    </p:custDataLst>
    <p:extLst>
      <p:ext uri="{BB962C8B-B14F-4D97-AF65-F5344CB8AC3E}">
        <p14:creationId xmlns:p14="http://schemas.microsoft.com/office/powerpoint/2010/main" val="40450801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ïSľíḋé"/>
        <p:cNvGrpSpPr/>
        <p:nvPr/>
      </p:nvGrpSpPr>
      <p:grpSpPr>
        <a:xfrm>
          <a:off x="0" y="0"/>
          <a:ext cx="0" cy="0"/>
          <a:chOff x="0" y="0"/>
          <a:chExt cx="0" cy="0"/>
        </a:xfrm>
      </p:grpSpPr>
      <p:sp>
        <p:nvSpPr>
          <p:cNvPr id="2" name="îšḷiḍê">
            <a:extLst>
              <a:ext uri="{FF2B5EF4-FFF2-40B4-BE49-F238E27FC236}">
                <a16:creationId xmlns:a16="http://schemas.microsoft.com/office/drawing/2014/main" id="{9C7A7D55-0EFD-4217-9B31-9AFB501D0AAB}"/>
              </a:ext>
            </a:extLst>
          </p:cNvPr>
          <p:cNvSpPr>
            <a:spLocks noGrp="1"/>
          </p:cNvSpPr>
          <p:nvPr>
            <p:ph type="title"/>
          </p:nvPr>
        </p:nvSpPr>
        <p:spPr/>
        <p:txBody>
          <a:bodyPr/>
          <a:lstStyle/>
          <a:p>
            <a:pPr fontAlgn="base">
              <a:spcBef>
                <a:spcPct val="0"/>
              </a:spcBef>
              <a:spcAft>
                <a:spcPct val="0"/>
              </a:spcAft>
              <a:tabLst>
                <a:tab pos="227965" algn="l"/>
              </a:tabLst>
              <a:defRPr/>
            </a:pPr>
            <a:r>
              <a:rPr lang="en-US" altLang="zh-CN" sz="2800" b="1" i="0" strike="noStrike" dirty="0">
                <a:latin typeface="+mn-lt"/>
                <a:cs typeface="Arial" panose="020B0604020202020204" pitchFamily="34" charset="0"/>
                <a:sym typeface="+mn-lt"/>
              </a:rPr>
              <a:t>Problem</a:t>
            </a:r>
            <a:endParaRPr lang="zh-CN" altLang="en-US" sz="2800" b="1" i="0" dirty="0">
              <a:latin typeface="+mn-lt"/>
              <a:cs typeface="Arial" panose="020B0604020202020204" pitchFamily="34" charset="0"/>
              <a:sym typeface="+mn-lt"/>
            </a:endParaRPr>
          </a:p>
        </p:txBody>
      </p:sp>
      <p:sp>
        <p:nvSpPr>
          <p:cNvPr id="4" name="iṥlîďé">
            <a:extLst>
              <a:ext uri="{FF2B5EF4-FFF2-40B4-BE49-F238E27FC236}">
                <a16:creationId xmlns:a16="http://schemas.microsoft.com/office/drawing/2014/main" id="{806D5CEF-5E75-45E9-A722-26F31F86487C}"/>
              </a:ext>
            </a:extLst>
          </p:cNvPr>
          <p:cNvSpPr>
            <a:spLocks noGrp="1"/>
          </p:cNvSpPr>
          <p:nvPr>
            <p:ph type="sldNum" sz="quarter" idx="12"/>
          </p:nvPr>
        </p:nvSpPr>
        <p:spPr/>
        <p:txBody>
          <a:bodyPr/>
          <a:lstStyle/>
          <a:p>
            <a:fld id="{5DD3DB80-B894-403A-B48E-6FDC1A72010E}" type="slidenum">
              <a:rPr lang="zh-CN" altLang="en-US" smtClean="0">
                <a:sym typeface="+mn-lt"/>
              </a:rPr>
              <a:pPr/>
              <a:t>5</a:t>
            </a:fld>
            <a:endParaRPr lang="zh-CN" altLang="en-US">
              <a:sym typeface="+mn-lt"/>
            </a:endParaRPr>
          </a:p>
        </p:txBody>
      </p:sp>
      <p:grpSp>
        <p:nvGrpSpPr>
          <p:cNvPr id="251" name="iṡľíde"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9190BC97-F8CE-49C2-97F0-77035FEA7A27}"/>
              </a:ext>
            </a:extLst>
          </p:cNvPr>
          <p:cNvGrpSpPr>
            <a:grpSpLocks noChangeAspect="1"/>
          </p:cNvGrpSpPr>
          <p:nvPr/>
        </p:nvGrpSpPr>
        <p:grpSpPr>
          <a:xfrm>
            <a:off x="611487" y="1324480"/>
            <a:ext cx="10609190" cy="4892216"/>
            <a:chOff x="606279" y="1296389"/>
            <a:chExt cx="10609190" cy="5625905"/>
          </a:xfrm>
        </p:grpSpPr>
        <p:grpSp>
          <p:nvGrpSpPr>
            <p:cNvPr id="252" name="ïSļïḍe">
              <a:extLst>
                <a:ext uri="{FF2B5EF4-FFF2-40B4-BE49-F238E27FC236}">
                  <a16:creationId xmlns:a16="http://schemas.microsoft.com/office/drawing/2014/main" id="{291DC45F-C8E9-4D7C-8B19-AD82D618B6C8}"/>
                </a:ext>
              </a:extLst>
            </p:cNvPr>
            <p:cNvGrpSpPr>
              <a:grpSpLocks/>
            </p:cNvGrpSpPr>
            <p:nvPr/>
          </p:nvGrpSpPr>
          <p:grpSpPr>
            <a:xfrm>
              <a:off x="7395309" y="1296389"/>
              <a:ext cx="3820160" cy="3018436"/>
              <a:chOff x="673100" y="3694742"/>
              <a:chExt cx="4681220" cy="3018436"/>
            </a:xfrm>
          </p:grpSpPr>
          <p:sp>
            <p:nvSpPr>
              <p:cNvPr id="290" name="îṩlíḋé">
                <a:extLst>
                  <a:ext uri="{FF2B5EF4-FFF2-40B4-BE49-F238E27FC236}">
                    <a16:creationId xmlns:a16="http://schemas.microsoft.com/office/drawing/2014/main" id="{6A18625B-5C1D-40EC-A772-7D6BEC0A509D}"/>
                  </a:ext>
                </a:extLst>
              </p:cNvPr>
              <p:cNvSpPr/>
              <p:nvPr/>
            </p:nvSpPr>
            <p:spPr bwMode="auto">
              <a:xfrm>
                <a:off x="673102" y="4136546"/>
                <a:ext cx="4681218" cy="2576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fontScale="85000"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lnSpc>
                    <a:spcPct val="150000"/>
                  </a:lnSpc>
                  <a:spcBef>
                    <a:spcPct val="0"/>
                  </a:spcBef>
                  <a:buFont typeface="Arial" panose="020B0604020202020204" pitchFamily="34" charset="0"/>
                  <a:buChar char="•"/>
                </a:pPr>
                <a:r>
                  <a:rPr lang="en-US" altLang="zh-CN" b="0" i="0" dirty="0">
                    <a:solidFill>
                      <a:srgbClr val="333333"/>
                    </a:solidFill>
                    <a:effectLst/>
                    <a:sym typeface="+mn-lt"/>
                  </a:rPr>
                  <a:t>Proper security measures have not been taken around the internal instruments of the hospital, they are easy to be manipulated and tampered with, and the data sources are extremely vulnerable to persecution</a:t>
                </a:r>
                <a:endParaRPr lang="en-US" altLang="zh-CN" sz="1600" dirty="0">
                  <a:sym typeface="+mn-lt"/>
                </a:endParaRPr>
              </a:p>
            </p:txBody>
          </p:sp>
          <p:sp>
            <p:nvSpPr>
              <p:cNvPr id="291" name="ïŝḻïdé">
                <a:extLst>
                  <a:ext uri="{FF2B5EF4-FFF2-40B4-BE49-F238E27FC236}">
                    <a16:creationId xmlns:a16="http://schemas.microsoft.com/office/drawing/2014/main" id="{E2223DB2-527C-4A53-B8CA-72428E0E38DB}"/>
                  </a:ext>
                </a:extLst>
              </p:cNvPr>
              <p:cNvSpPr txBox="1"/>
              <p:nvPr/>
            </p:nvSpPr>
            <p:spPr bwMode="auto">
              <a:xfrm>
                <a:off x="673100" y="3694742"/>
                <a:ext cx="4681220"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ct val="0"/>
                  </a:spcBef>
                </a:pPr>
                <a:r>
                  <a:rPr lang="en-US" altLang="zh-CN" sz="2000" b="1" dirty="0">
                    <a:sym typeface="+mn-lt"/>
                  </a:rPr>
                  <a:t>Second</a:t>
                </a:r>
              </a:p>
            </p:txBody>
          </p:sp>
        </p:grpSp>
        <p:grpSp>
          <p:nvGrpSpPr>
            <p:cNvPr id="253" name="íš1ïďe">
              <a:extLst>
                <a:ext uri="{FF2B5EF4-FFF2-40B4-BE49-F238E27FC236}">
                  <a16:creationId xmlns:a16="http://schemas.microsoft.com/office/drawing/2014/main" id="{5F0D9CEF-5052-4EEE-9890-2E5D107FABEB}"/>
                </a:ext>
              </a:extLst>
            </p:cNvPr>
            <p:cNvGrpSpPr/>
            <p:nvPr/>
          </p:nvGrpSpPr>
          <p:grpSpPr>
            <a:xfrm>
              <a:off x="606279" y="1573819"/>
              <a:ext cx="4861065" cy="5348475"/>
              <a:chOff x="606279" y="1744864"/>
              <a:chExt cx="4861065" cy="5348475"/>
            </a:xfrm>
          </p:grpSpPr>
          <p:grpSp>
            <p:nvGrpSpPr>
              <p:cNvPr id="279" name="iS1ïḋê">
                <a:extLst>
                  <a:ext uri="{FF2B5EF4-FFF2-40B4-BE49-F238E27FC236}">
                    <a16:creationId xmlns:a16="http://schemas.microsoft.com/office/drawing/2014/main" id="{302E5685-900F-4034-8FF4-31A123CBC208}"/>
                  </a:ext>
                </a:extLst>
              </p:cNvPr>
              <p:cNvGrpSpPr/>
              <p:nvPr/>
            </p:nvGrpSpPr>
            <p:grpSpPr>
              <a:xfrm>
                <a:off x="660401" y="1744864"/>
                <a:ext cx="3608787" cy="2055381"/>
                <a:chOff x="660401" y="1783328"/>
                <a:chExt cx="3344898" cy="2055381"/>
              </a:xfrm>
            </p:grpSpPr>
            <p:sp>
              <p:nvSpPr>
                <p:cNvPr id="288" name="í$ḻîḋè">
                  <a:extLst>
                    <a:ext uri="{FF2B5EF4-FFF2-40B4-BE49-F238E27FC236}">
                      <a16:creationId xmlns:a16="http://schemas.microsoft.com/office/drawing/2014/main" id="{B003B68E-B03F-453D-8857-A9958ECAE224}"/>
                    </a:ext>
                  </a:extLst>
                </p:cNvPr>
                <p:cNvSpPr/>
                <p:nvPr/>
              </p:nvSpPr>
              <p:spPr bwMode="auto">
                <a:xfrm>
                  <a:off x="660401" y="2168605"/>
                  <a:ext cx="3344898" cy="1670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fontScale="92500"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lnSpc>
                      <a:spcPct val="150000"/>
                    </a:lnSpc>
                    <a:spcBef>
                      <a:spcPct val="0"/>
                    </a:spcBef>
                    <a:buFont typeface="Arial" panose="020B0604020202020204" pitchFamily="34" charset="0"/>
                    <a:buChar char="•"/>
                  </a:pPr>
                  <a:r>
                    <a:rPr lang="en-US" altLang="zh-CN" sz="1600" b="0" i="0" dirty="0">
                      <a:solidFill>
                        <a:srgbClr val="666666"/>
                      </a:solidFill>
                      <a:effectLst/>
                      <a:sym typeface="+mn-lt"/>
                    </a:rPr>
                    <a:t>The traditional hospital network framework is very fragile in the era when it needs to </a:t>
                  </a:r>
                  <a:r>
                    <a:rPr lang="en-US" altLang="zh-CN" b="0" i="0" dirty="0">
                      <a:solidFill>
                        <a:srgbClr val="666666"/>
                      </a:solidFill>
                      <a:effectLst/>
                      <a:sym typeface="+mn-lt"/>
                    </a:rPr>
                    <a:t>be</a:t>
                  </a:r>
                  <a:r>
                    <a:rPr lang="en-US" altLang="zh-CN" sz="1600" b="0" i="0" dirty="0">
                      <a:solidFill>
                        <a:srgbClr val="666666"/>
                      </a:solidFill>
                      <a:effectLst/>
                      <a:sym typeface="+mn-lt"/>
                    </a:rPr>
                    <a:t> partially opened up</a:t>
                  </a:r>
                  <a:r>
                    <a:rPr lang="en-US" altLang="zh-CN" sz="1600" dirty="0">
                      <a:solidFill>
                        <a:srgbClr val="666666"/>
                      </a:solidFill>
                      <a:sym typeface="+mn-lt"/>
                    </a:rPr>
                    <a:t>.</a:t>
                  </a:r>
                  <a:endParaRPr lang="en-US" altLang="zh-CN" sz="1600" dirty="0">
                    <a:sym typeface="+mn-lt"/>
                  </a:endParaRPr>
                </a:p>
              </p:txBody>
            </p:sp>
            <p:sp>
              <p:nvSpPr>
                <p:cNvPr id="289" name="íṣlïḑê">
                  <a:extLst>
                    <a:ext uri="{FF2B5EF4-FFF2-40B4-BE49-F238E27FC236}">
                      <a16:creationId xmlns:a16="http://schemas.microsoft.com/office/drawing/2014/main" id="{172204C1-CA66-4E1A-90AC-F2DBAF4CC0BA}"/>
                    </a:ext>
                  </a:extLst>
                </p:cNvPr>
                <p:cNvSpPr txBox="1"/>
                <p:nvPr/>
              </p:nvSpPr>
              <p:spPr bwMode="auto">
                <a:xfrm>
                  <a:off x="696272" y="1783328"/>
                  <a:ext cx="3131556"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ct val="0"/>
                    </a:spcBef>
                  </a:pPr>
                  <a:r>
                    <a:rPr lang="en-US" altLang="zh-CN" sz="2000" b="1" dirty="0">
                      <a:sym typeface="+mn-lt"/>
                    </a:rPr>
                    <a:t>First</a:t>
                  </a:r>
                </a:p>
              </p:txBody>
            </p:sp>
          </p:grpSp>
          <p:grpSp>
            <p:nvGrpSpPr>
              <p:cNvPr id="280" name="îṣlîḓè">
                <a:extLst>
                  <a:ext uri="{FF2B5EF4-FFF2-40B4-BE49-F238E27FC236}">
                    <a16:creationId xmlns:a16="http://schemas.microsoft.com/office/drawing/2014/main" id="{21C4EAFC-7735-4C25-8BF6-27C915EBAAC8}"/>
                  </a:ext>
                </a:extLst>
              </p:cNvPr>
              <p:cNvGrpSpPr/>
              <p:nvPr/>
            </p:nvGrpSpPr>
            <p:grpSpPr>
              <a:xfrm>
                <a:off x="606279" y="3862418"/>
                <a:ext cx="4861065" cy="3230921"/>
                <a:chOff x="616675" y="3639436"/>
                <a:chExt cx="3927286" cy="3230921"/>
              </a:xfrm>
            </p:grpSpPr>
            <p:sp>
              <p:nvSpPr>
                <p:cNvPr id="286" name="îṡlïde">
                  <a:extLst>
                    <a:ext uri="{FF2B5EF4-FFF2-40B4-BE49-F238E27FC236}">
                      <a16:creationId xmlns:a16="http://schemas.microsoft.com/office/drawing/2014/main" id="{C860B366-8AFF-44B0-8553-8AA841EBE5E2}"/>
                    </a:ext>
                  </a:extLst>
                </p:cNvPr>
                <p:cNvSpPr/>
                <p:nvPr/>
              </p:nvSpPr>
              <p:spPr bwMode="auto">
                <a:xfrm>
                  <a:off x="616677" y="4096433"/>
                  <a:ext cx="3927284" cy="2773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lnSpc>
                      <a:spcPct val="150000"/>
                    </a:lnSpc>
                    <a:spcBef>
                      <a:spcPct val="0"/>
                    </a:spcBef>
                    <a:buFont typeface="Arial" panose="020B0604020202020204" pitchFamily="34" charset="0"/>
                    <a:buChar char="•"/>
                  </a:pPr>
                  <a:r>
                    <a:rPr lang="en-US" altLang="zh-CN" sz="1800" dirty="0">
                      <a:latin typeface="宋体" panose="02010600030101010101" pitchFamily="2" charset="-122"/>
                      <a:ea typeface="宋体" panose="02010600030101010101" pitchFamily="2" charset="-122"/>
                    </a:rPr>
                    <a:t>Electronic medical records have become a trend of preserving medical results, so it is necessary to ensure the security of the data sources in medical records as well as the security in the process of transmission.</a:t>
                  </a:r>
                  <a:endParaRPr lang="zh-CN" altLang="en-US" sz="1800" dirty="0">
                    <a:latin typeface="宋体" panose="02010600030101010101" pitchFamily="2" charset="-122"/>
                    <a:ea typeface="宋体" panose="02010600030101010101" pitchFamily="2" charset="-122"/>
                  </a:endParaRPr>
                </a:p>
                <a:p>
                  <a:pPr marL="171450" indent="-171450">
                    <a:lnSpc>
                      <a:spcPct val="150000"/>
                    </a:lnSpc>
                    <a:spcBef>
                      <a:spcPct val="0"/>
                    </a:spcBef>
                    <a:buFont typeface="Arial" panose="020B0604020202020204" pitchFamily="34" charset="0"/>
                    <a:buChar char="•"/>
                  </a:pPr>
                  <a:endParaRPr lang="en-US" altLang="zh-CN" sz="1500" dirty="0">
                    <a:sym typeface="+mn-lt"/>
                  </a:endParaRPr>
                </a:p>
              </p:txBody>
            </p:sp>
            <p:sp>
              <p:nvSpPr>
                <p:cNvPr id="287" name="iš1íḑè">
                  <a:extLst>
                    <a:ext uri="{FF2B5EF4-FFF2-40B4-BE49-F238E27FC236}">
                      <a16:creationId xmlns:a16="http://schemas.microsoft.com/office/drawing/2014/main" id="{D1D3468A-1754-400F-88C1-05472537359F}"/>
                    </a:ext>
                  </a:extLst>
                </p:cNvPr>
                <p:cNvSpPr txBox="1"/>
                <p:nvPr/>
              </p:nvSpPr>
              <p:spPr bwMode="auto">
                <a:xfrm>
                  <a:off x="616675" y="3639436"/>
                  <a:ext cx="3820160"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ct val="0"/>
                    </a:spcBef>
                  </a:pPr>
                  <a:r>
                    <a:rPr lang="en-US" altLang="zh-CN" sz="2000" b="1" i="0" dirty="0">
                      <a:solidFill>
                        <a:srgbClr val="333333"/>
                      </a:solidFill>
                      <a:effectLst/>
                      <a:sym typeface="+mn-lt"/>
                    </a:rPr>
                    <a:t>Third</a:t>
                  </a:r>
                  <a:endParaRPr lang="en-US" altLang="zh-CN" sz="2000" b="1" dirty="0">
                    <a:sym typeface="+mn-lt"/>
                  </a:endParaRPr>
                </a:p>
              </p:txBody>
            </p:sp>
          </p:grpSp>
          <p:cxnSp>
            <p:nvCxnSpPr>
              <p:cNvPr id="282" name="ïṥlïḍê">
                <a:extLst>
                  <a:ext uri="{FF2B5EF4-FFF2-40B4-BE49-F238E27FC236}">
                    <a16:creationId xmlns:a16="http://schemas.microsoft.com/office/drawing/2014/main" id="{B3A0B501-6C7D-4FA2-83E5-ECC35A79F305}"/>
                  </a:ext>
                </a:extLst>
              </p:cNvPr>
              <p:cNvCxnSpPr/>
              <p:nvPr/>
            </p:nvCxnSpPr>
            <p:spPr>
              <a:xfrm>
                <a:off x="660401" y="3831332"/>
                <a:ext cx="2987869"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254" name="iş1ïďe">
              <a:extLst>
                <a:ext uri="{FF2B5EF4-FFF2-40B4-BE49-F238E27FC236}">
                  <a16:creationId xmlns:a16="http://schemas.microsoft.com/office/drawing/2014/main" id="{666D91D6-7837-4B72-83AB-BC85C52A2DE1}"/>
                </a:ext>
              </a:extLst>
            </p:cNvPr>
            <p:cNvSpPr/>
            <p:nvPr/>
          </p:nvSpPr>
          <p:spPr>
            <a:xfrm>
              <a:off x="4430465" y="2763957"/>
              <a:ext cx="592454" cy="648228"/>
            </a:xfrm>
            <a:prstGeom prst="rect">
              <a:avLst/>
            </a:prstGeom>
            <a:solidFill>
              <a:schemeClr val="tx1">
                <a:lumMod val="50000"/>
                <a:lumOff val="50000"/>
              </a:schemeClr>
            </a:solidFill>
            <a:ln w="12700" cap="flat">
              <a:noFill/>
              <a:miter lim="400000"/>
            </a:ln>
            <a:effectLst/>
          </p:spPr>
          <p:txBody>
            <a:bodyPr wrap="square" lIns="90000" tIns="46800" rIns="90000" bIns="46800" numCol="1"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sz="3200" cap="none">
                  <a:solidFill>
                    <a:srgbClr val="FFFFFF"/>
                  </a:solidFill>
                </a:defRPr>
              </a:pPr>
              <a:r>
                <a:rPr lang="en-US" altLang="zh-CN" sz="2800" b="1" dirty="0">
                  <a:sym typeface="+mn-lt"/>
                </a:rPr>
                <a:t>1</a:t>
              </a:r>
              <a:endParaRPr sz="2800" b="1" dirty="0">
                <a:sym typeface="+mn-lt"/>
              </a:endParaRPr>
            </a:p>
          </p:txBody>
        </p:sp>
        <p:sp>
          <p:nvSpPr>
            <p:cNvPr id="255" name="îsļiďè">
              <a:extLst>
                <a:ext uri="{FF2B5EF4-FFF2-40B4-BE49-F238E27FC236}">
                  <a16:creationId xmlns:a16="http://schemas.microsoft.com/office/drawing/2014/main" id="{2BF579AD-1893-4D7E-98B6-7C3A9CBC1533}"/>
                </a:ext>
              </a:extLst>
            </p:cNvPr>
            <p:cNvSpPr/>
            <p:nvPr/>
          </p:nvSpPr>
          <p:spPr>
            <a:xfrm>
              <a:off x="4414651" y="2358059"/>
              <a:ext cx="1267729" cy="1432924"/>
            </a:xfrm>
            <a:custGeom>
              <a:avLst/>
              <a:gdLst/>
              <a:ahLst/>
              <a:cxnLst>
                <a:cxn ang="0">
                  <a:pos x="wd2" y="hd2"/>
                </a:cxn>
                <a:cxn ang="5400000">
                  <a:pos x="wd2" y="hd2"/>
                </a:cxn>
                <a:cxn ang="10800000">
                  <a:pos x="wd2" y="hd2"/>
                </a:cxn>
                <a:cxn ang="16200000">
                  <a:pos x="wd2" y="hd2"/>
                </a:cxn>
              </a:cxnLst>
              <a:rect l="0" t="0" r="r" b="b"/>
              <a:pathLst>
                <a:path w="21600" h="21585" extrusionOk="0">
                  <a:moveTo>
                    <a:pt x="9959" y="21394"/>
                  </a:moveTo>
                  <a:lnTo>
                    <a:pt x="894" y="16867"/>
                  </a:lnTo>
                  <a:cubicBezTo>
                    <a:pt x="639" y="16746"/>
                    <a:pt x="423" y="16570"/>
                    <a:pt x="267" y="16355"/>
                  </a:cubicBezTo>
                  <a:cubicBezTo>
                    <a:pt x="112" y="16144"/>
                    <a:pt x="21" y="15901"/>
                    <a:pt x="0" y="15650"/>
                  </a:cubicBezTo>
                  <a:lnTo>
                    <a:pt x="0" y="15204"/>
                  </a:lnTo>
                  <a:lnTo>
                    <a:pt x="4900" y="15204"/>
                  </a:lnTo>
                  <a:cubicBezTo>
                    <a:pt x="7542" y="14971"/>
                    <a:pt x="9522" y="12961"/>
                    <a:pt x="9421" y="10615"/>
                  </a:cubicBezTo>
                  <a:cubicBezTo>
                    <a:pt x="9326" y="8405"/>
                    <a:pt x="7391" y="6600"/>
                    <a:pt x="4900" y="6397"/>
                  </a:cubicBezTo>
                  <a:lnTo>
                    <a:pt x="27" y="6397"/>
                  </a:lnTo>
                  <a:lnTo>
                    <a:pt x="27" y="5923"/>
                  </a:lnTo>
                  <a:cubicBezTo>
                    <a:pt x="85" y="5665"/>
                    <a:pt x="211" y="5422"/>
                    <a:pt x="397" y="5217"/>
                  </a:cubicBezTo>
                  <a:cubicBezTo>
                    <a:pt x="575" y="5018"/>
                    <a:pt x="804" y="4859"/>
                    <a:pt x="1063" y="4752"/>
                  </a:cubicBezTo>
                  <a:lnTo>
                    <a:pt x="10162" y="171"/>
                  </a:lnTo>
                  <a:cubicBezTo>
                    <a:pt x="10359" y="70"/>
                    <a:pt x="10581" y="12"/>
                    <a:pt x="10809" y="2"/>
                  </a:cubicBezTo>
                  <a:cubicBezTo>
                    <a:pt x="11087" y="-11"/>
                    <a:pt x="11364" y="48"/>
                    <a:pt x="11606" y="171"/>
                  </a:cubicBezTo>
                  <a:lnTo>
                    <a:pt x="20633" y="4823"/>
                  </a:lnTo>
                  <a:cubicBezTo>
                    <a:pt x="20937" y="4962"/>
                    <a:pt x="21189" y="5176"/>
                    <a:pt x="21361" y="5438"/>
                  </a:cubicBezTo>
                  <a:cubicBezTo>
                    <a:pt x="21505" y="5658"/>
                    <a:pt x="21587" y="5906"/>
                    <a:pt x="21600" y="6161"/>
                  </a:cubicBezTo>
                  <a:lnTo>
                    <a:pt x="21600" y="15566"/>
                  </a:lnTo>
                  <a:cubicBezTo>
                    <a:pt x="21586" y="15801"/>
                    <a:pt x="21504" y="16029"/>
                    <a:pt x="21364" y="16228"/>
                  </a:cubicBezTo>
                  <a:cubicBezTo>
                    <a:pt x="21201" y="16460"/>
                    <a:pt x="20966" y="16645"/>
                    <a:pt x="20686" y="16760"/>
                  </a:cubicBezTo>
                  <a:lnTo>
                    <a:pt x="11713" y="21383"/>
                  </a:lnTo>
                  <a:cubicBezTo>
                    <a:pt x="11433" y="21519"/>
                    <a:pt x="11119" y="21589"/>
                    <a:pt x="10800" y="21585"/>
                  </a:cubicBezTo>
                  <a:cubicBezTo>
                    <a:pt x="10506" y="21582"/>
                    <a:pt x="10218" y="21516"/>
                    <a:pt x="9959" y="21394"/>
                  </a:cubicBezTo>
                  <a:close/>
                </a:path>
              </a:pathLst>
            </a:custGeom>
            <a:solidFill>
              <a:schemeClr val="bg1">
                <a:lumMod val="95000"/>
              </a:schemeClr>
            </a:solidFill>
            <a:ln w="12700" cap="flat">
              <a:noFill/>
              <a:miter lim="400000"/>
            </a:ln>
            <a:effectLst/>
          </p:spPr>
          <p:txBody>
            <a:bodyPr wrap="square" lIns="71437" tIns="71437" rIns="71437" bIns="71437" numCol="1"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sz="3200" cap="none">
                  <a:solidFill>
                    <a:srgbClr val="000000"/>
                  </a:solidFill>
                </a:defRPr>
              </a:pPr>
              <a:endParaRPr>
                <a:sym typeface="+mn-lt"/>
              </a:endParaRPr>
            </a:p>
          </p:txBody>
        </p:sp>
        <p:sp>
          <p:nvSpPr>
            <p:cNvPr id="256" name="ïşḻîḑé">
              <a:extLst>
                <a:ext uri="{FF2B5EF4-FFF2-40B4-BE49-F238E27FC236}">
                  <a16:creationId xmlns:a16="http://schemas.microsoft.com/office/drawing/2014/main" id="{77EC2449-6362-4DB1-A0A5-8B108710B23A}"/>
                </a:ext>
              </a:extLst>
            </p:cNvPr>
            <p:cNvSpPr/>
            <p:nvPr/>
          </p:nvSpPr>
          <p:spPr>
            <a:xfrm>
              <a:off x="5168381" y="2423532"/>
              <a:ext cx="628814" cy="1432469"/>
            </a:xfrm>
            <a:custGeom>
              <a:avLst/>
              <a:gdLst/>
              <a:ahLst/>
              <a:cxnLst>
                <a:cxn ang="0">
                  <a:pos x="wd2" y="hd2"/>
                </a:cxn>
                <a:cxn ang="5400000">
                  <a:pos x="wd2" y="hd2"/>
                </a:cxn>
                <a:cxn ang="10800000">
                  <a:pos x="wd2" y="hd2"/>
                </a:cxn>
                <a:cxn ang="16200000">
                  <a:pos x="wd2" y="hd2"/>
                </a:cxn>
              </a:cxnLst>
              <a:rect l="0" t="0" r="r" b="b"/>
              <a:pathLst>
                <a:path w="21595" h="21595" extrusionOk="0">
                  <a:moveTo>
                    <a:pt x="0" y="4"/>
                  </a:moveTo>
                  <a:lnTo>
                    <a:pt x="38" y="21595"/>
                  </a:lnTo>
                  <a:cubicBezTo>
                    <a:pt x="429" y="21576"/>
                    <a:pt x="813" y="21536"/>
                    <a:pt x="1181" y="21474"/>
                  </a:cubicBezTo>
                  <a:cubicBezTo>
                    <a:pt x="1609" y="21403"/>
                    <a:pt x="2011" y="21305"/>
                    <a:pt x="2374" y="21182"/>
                  </a:cubicBezTo>
                  <a:lnTo>
                    <a:pt x="19601" y="16781"/>
                  </a:lnTo>
                  <a:cubicBezTo>
                    <a:pt x="20180" y="16663"/>
                    <a:pt x="20673" y="16477"/>
                    <a:pt x="21025" y="16244"/>
                  </a:cubicBezTo>
                  <a:cubicBezTo>
                    <a:pt x="21401" y="15993"/>
                    <a:pt x="21600" y="15699"/>
                    <a:pt x="21595" y="15399"/>
                  </a:cubicBezTo>
                  <a:lnTo>
                    <a:pt x="21561" y="6225"/>
                  </a:lnTo>
                  <a:cubicBezTo>
                    <a:pt x="21577" y="5922"/>
                    <a:pt x="21395" y="5623"/>
                    <a:pt x="21034" y="5364"/>
                  </a:cubicBezTo>
                  <a:cubicBezTo>
                    <a:pt x="20684" y="5112"/>
                    <a:pt x="20180" y="4908"/>
                    <a:pt x="19579" y="4776"/>
                  </a:cubicBezTo>
                  <a:lnTo>
                    <a:pt x="1486" y="160"/>
                  </a:lnTo>
                  <a:cubicBezTo>
                    <a:pt x="1247" y="95"/>
                    <a:pt x="983" y="48"/>
                    <a:pt x="707" y="23"/>
                  </a:cubicBezTo>
                  <a:cubicBezTo>
                    <a:pt x="474" y="1"/>
                    <a:pt x="236" y="-5"/>
                    <a:pt x="0" y="4"/>
                  </a:cubicBezTo>
                  <a:close/>
                </a:path>
              </a:pathLst>
            </a:custGeom>
            <a:solidFill>
              <a:schemeClr val="bg1">
                <a:lumMod val="85000"/>
              </a:schemeClr>
            </a:solidFill>
            <a:ln w="12700" cap="flat">
              <a:noFill/>
              <a:miter lim="400000"/>
            </a:ln>
            <a:effectLst/>
          </p:spPr>
          <p:txBody>
            <a:bodyPr wrap="square" lIns="71437" tIns="71437" rIns="71437" bIns="71437" numCol="1"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sz="3200" cap="none">
                  <a:solidFill>
                    <a:srgbClr val="000000"/>
                  </a:solidFill>
                </a:defRPr>
              </a:pPr>
              <a:endParaRPr>
                <a:sym typeface="+mn-lt"/>
              </a:endParaRPr>
            </a:p>
          </p:txBody>
        </p:sp>
        <p:sp>
          <p:nvSpPr>
            <p:cNvPr id="257" name="ïsľïḍê">
              <a:extLst>
                <a:ext uri="{FF2B5EF4-FFF2-40B4-BE49-F238E27FC236}">
                  <a16:creationId xmlns:a16="http://schemas.microsoft.com/office/drawing/2014/main" id="{49192589-44CD-47D6-A249-C768AC276F94}"/>
                </a:ext>
              </a:extLst>
            </p:cNvPr>
            <p:cNvSpPr/>
            <p:nvPr/>
          </p:nvSpPr>
          <p:spPr>
            <a:xfrm>
              <a:off x="5500968" y="3807857"/>
              <a:ext cx="592453" cy="648229"/>
            </a:xfrm>
            <a:prstGeom prst="rect">
              <a:avLst/>
            </a:prstGeom>
            <a:solidFill>
              <a:schemeClr val="tx1">
                <a:lumMod val="50000"/>
                <a:lumOff val="50000"/>
              </a:schemeClr>
            </a:solidFill>
            <a:ln w="12700" cap="flat">
              <a:noFill/>
              <a:miter lim="400000"/>
            </a:ln>
            <a:effectLst/>
          </p:spPr>
          <p:txBody>
            <a:bodyPr wrap="square" lIns="90000" tIns="46800" rIns="90000" bIns="46800" numCol="1"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sz="3200" cap="none">
                  <a:solidFill>
                    <a:srgbClr val="FFFFFF"/>
                  </a:solidFill>
                </a:defRPr>
              </a:pPr>
              <a:r>
                <a:rPr lang="en-US" altLang="zh-CN" sz="2800" b="1" dirty="0">
                  <a:sym typeface="+mn-lt"/>
                </a:rPr>
                <a:t>3</a:t>
              </a:r>
              <a:endParaRPr sz="2800" b="1" dirty="0">
                <a:sym typeface="+mn-lt"/>
              </a:endParaRPr>
            </a:p>
          </p:txBody>
        </p:sp>
        <p:sp>
          <p:nvSpPr>
            <p:cNvPr id="258" name="i$líďé">
              <a:extLst>
                <a:ext uri="{FF2B5EF4-FFF2-40B4-BE49-F238E27FC236}">
                  <a16:creationId xmlns:a16="http://schemas.microsoft.com/office/drawing/2014/main" id="{5AD12E4C-684A-40AF-910E-CD5CA0A39F3D}"/>
                </a:ext>
              </a:extLst>
            </p:cNvPr>
            <p:cNvSpPr/>
            <p:nvPr/>
          </p:nvSpPr>
          <p:spPr>
            <a:xfrm>
              <a:off x="5438034" y="3411759"/>
              <a:ext cx="1267729" cy="1432924"/>
            </a:xfrm>
            <a:custGeom>
              <a:avLst/>
              <a:gdLst/>
              <a:ahLst/>
              <a:cxnLst>
                <a:cxn ang="0">
                  <a:pos x="wd2" y="hd2"/>
                </a:cxn>
                <a:cxn ang="5400000">
                  <a:pos x="wd2" y="hd2"/>
                </a:cxn>
                <a:cxn ang="10800000">
                  <a:pos x="wd2" y="hd2"/>
                </a:cxn>
                <a:cxn ang="16200000">
                  <a:pos x="wd2" y="hd2"/>
                </a:cxn>
              </a:cxnLst>
              <a:rect l="0" t="0" r="r" b="b"/>
              <a:pathLst>
                <a:path w="21600" h="21585" extrusionOk="0">
                  <a:moveTo>
                    <a:pt x="9959" y="21394"/>
                  </a:moveTo>
                  <a:lnTo>
                    <a:pt x="894" y="16867"/>
                  </a:lnTo>
                  <a:cubicBezTo>
                    <a:pt x="639" y="16746"/>
                    <a:pt x="423" y="16570"/>
                    <a:pt x="267" y="16355"/>
                  </a:cubicBezTo>
                  <a:cubicBezTo>
                    <a:pt x="112" y="16144"/>
                    <a:pt x="21" y="15901"/>
                    <a:pt x="0" y="15650"/>
                  </a:cubicBezTo>
                  <a:lnTo>
                    <a:pt x="0" y="15204"/>
                  </a:lnTo>
                  <a:lnTo>
                    <a:pt x="4900" y="15204"/>
                  </a:lnTo>
                  <a:cubicBezTo>
                    <a:pt x="7542" y="14971"/>
                    <a:pt x="9522" y="12961"/>
                    <a:pt x="9421" y="10615"/>
                  </a:cubicBezTo>
                  <a:cubicBezTo>
                    <a:pt x="9326" y="8405"/>
                    <a:pt x="7391" y="6600"/>
                    <a:pt x="4900" y="6397"/>
                  </a:cubicBezTo>
                  <a:lnTo>
                    <a:pt x="27" y="6397"/>
                  </a:lnTo>
                  <a:lnTo>
                    <a:pt x="27" y="5923"/>
                  </a:lnTo>
                  <a:cubicBezTo>
                    <a:pt x="85" y="5665"/>
                    <a:pt x="211" y="5422"/>
                    <a:pt x="397" y="5217"/>
                  </a:cubicBezTo>
                  <a:cubicBezTo>
                    <a:pt x="575" y="5018"/>
                    <a:pt x="804" y="4859"/>
                    <a:pt x="1063" y="4752"/>
                  </a:cubicBezTo>
                  <a:lnTo>
                    <a:pt x="10162" y="171"/>
                  </a:lnTo>
                  <a:cubicBezTo>
                    <a:pt x="10359" y="70"/>
                    <a:pt x="10581" y="12"/>
                    <a:pt x="10809" y="2"/>
                  </a:cubicBezTo>
                  <a:cubicBezTo>
                    <a:pt x="11087" y="-11"/>
                    <a:pt x="11364" y="48"/>
                    <a:pt x="11606" y="171"/>
                  </a:cubicBezTo>
                  <a:lnTo>
                    <a:pt x="20633" y="4823"/>
                  </a:lnTo>
                  <a:cubicBezTo>
                    <a:pt x="20937" y="4962"/>
                    <a:pt x="21189" y="5176"/>
                    <a:pt x="21361" y="5438"/>
                  </a:cubicBezTo>
                  <a:cubicBezTo>
                    <a:pt x="21505" y="5658"/>
                    <a:pt x="21587" y="5906"/>
                    <a:pt x="21600" y="6161"/>
                  </a:cubicBezTo>
                  <a:lnTo>
                    <a:pt x="21600" y="15566"/>
                  </a:lnTo>
                  <a:cubicBezTo>
                    <a:pt x="21586" y="15801"/>
                    <a:pt x="21504" y="16029"/>
                    <a:pt x="21364" y="16228"/>
                  </a:cubicBezTo>
                  <a:cubicBezTo>
                    <a:pt x="21201" y="16460"/>
                    <a:pt x="20966" y="16645"/>
                    <a:pt x="20686" y="16760"/>
                  </a:cubicBezTo>
                  <a:lnTo>
                    <a:pt x="11713" y="21383"/>
                  </a:lnTo>
                  <a:cubicBezTo>
                    <a:pt x="11433" y="21519"/>
                    <a:pt x="11119" y="21589"/>
                    <a:pt x="10800" y="21585"/>
                  </a:cubicBezTo>
                  <a:cubicBezTo>
                    <a:pt x="10506" y="21582"/>
                    <a:pt x="10218" y="21516"/>
                    <a:pt x="9959" y="21394"/>
                  </a:cubicBezTo>
                  <a:close/>
                </a:path>
              </a:pathLst>
            </a:custGeom>
            <a:solidFill>
              <a:schemeClr val="bg1">
                <a:lumMod val="95000"/>
              </a:schemeClr>
            </a:solidFill>
            <a:ln w="12700" cap="flat">
              <a:noFill/>
              <a:miter lim="400000"/>
            </a:ln>
            <a:effectLst/>
          </p:spPr>
          <p:txBody>
            <a:bodyPr wrap="square" lIns="71437" tIns="71437" rIns="71437" bIns="71437" numCol="1"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sz="3200" cap="none">
                  <a:solidFill>
                    <a:srgbClr val="000000"/>
                  </a:solidFill>
                </a:defRPr>
              </a:pPr>
              <a:endParaRPr>
                <a:sym typeface="+mn-lt"/>
              </a:endParaRPr>
            </a:p>
          </p:txBody>
        </p:sp>
        <p:sp>
          <p:nvSpPr>
            <p:cNvPr id="259" name="is1ïḍè">
              <a:extLst>
                <a:ext uri="{FF2B5EF4-FFF2-40B4-BE49-F238E27FC236}">
                  <a16:creationId xmlns:a16="http://schemas.microsoft.com/office/drawing/2014/main" id="{D324EF93-BEE6-408C-870B-A4AB12137C1F}"/>
                </a:ext>
              </a:extLst>
            </p:cNvPr>
            <p:cNvSpPr/>
            <p:nvPr/>
          </p:nvSpPr>
          <p:spPr>
            <a:xfrm>
              <a:off x="6127046" y="3413874"/>
              <a:ext cx="628814" cy="1432469"/>
            </a:xfrm>
            <a:custGeom>
              <a:avLst/>
              <a:gdLst/>
              <a:ahLst/>
              <a:cxnLst>
                <a:cxn ang="0">
                  <a:pos x="wd2" y="hd2"/>
                </a:cxn>
                <a:cxn ang="5400000">
                  <a:pos x="wd2" y="hd2"/>
                </a:cxn>
                <a:cxn ang="10800000">
                  <a:pos x="wd2" y="hd2"/>
                </a:cxn>
                <a:cxn ang="16200000">
                  <a:pos x="wd2" y="hd2"/>
                </a:cxn>
              </a:cxnLst>
              <a:rect l="0" t="0" r="r" b="b"/>
              <a:pathLst>
                <a:path w="21595" h="21595" extrusionOk="0">
                  <a:moveTo>
                    <a:pt x="0" y="4"/>
                  </a:moveTo>
                  <a:lnTo>
                    <a:pt x="38" y="21595"/>
                  </a:lnTo>
                  <a:cubicBezTo>
                    <a:pt x="429" y="21576"/>
                    <a:pt x="813" y="21536"/>
                    <a:pt x="1181" y="21474"/>
                  </a:cubicBezTo>
                  <a:cubicBezTo>
                    <a:pt x="1609" y="21403"/>
                    <a:pt x="2011" y="21305"/>
                    <a:pt x="2374" y="21182"/>
                  </a:cubicBezTo>
                  <a:lnTo>
                    <a:pt x="19601" y="16781"/>
                  </a:lnTo>
                  <a:cubicBezTo>
                    <a:pt x="20180" y="16663"/>
                    <a:pt x="20673" y="16477"/>
                    <a:pt x="21025" y="16244"/>
                  </a:cubicBezTo>
                  <a:cubicBezTo>
                    <a:pt x="21401" y="15993"/>
                    <a:pt x="21600" y="15699"/>
                    <a:pt x="21595" y="15399"/>
                  </a:cubicBezTo>
                  <a:lnTo>
                    <a:pt x="21561" y="6225"/>
                  </a:lnTo>
                  <a:cubicBezTo>
                    <a:pt x="21577" y="5922"/>
                    <a:pt x="21395" y="5623"/>
                    <a:pt x="21034" y="5364"/>
                  </a:cubicBezTo>
                  <a:cubicBezTo>
                    <a:pt x="20684" y="5112"/>
                    <a:pt x="20180" y="4908"/>
                    <a:pt x="19579" y="4776"/>
                  </a:cubicBezTo>
                  <a:lnTo>
                    <a:pt x="1486" y="160"/>
                  </a:lnTo>
                  <a:cubicBezTo>
                    <a:pt x="1247" y="95"/>
                    <a:pt x="983" y="48"/>
                    <a:pt x="707" y="23"/>
                  </a:cubicBezTo>
                  <a:cubicBezTo>
                    <a:pt x="474" y="1"/>
                    <a:pt x="236" y="-5"/>
                    <a:pt x="0" y="4"/>
                  </a:cubicBezTo>
                  <a:close/>
                </a:path>
              </a:pathLst>
            </a:custGeom>
            <a:solidFill>
              <a:schemeClr val="bg1">
                <a:lumMod val="85000"/>
              </a:schemeClr>
            </a:solidFill>
            <a:ln w="12700" cap="flat">
              <a:noFill/>
              <a:miter lim="400000"/>
            </a:ln>
            <a:effectLst/>
          </p:spPr>
          <p:txBody>
            <a:bodyPr wrap="square" lIns="71437" tIns="71437" rIns="71437" bIns="71437" numCol="1"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sz="3200" cap="none">
                  <a:solidFill>
                    <a:srgbClr val="000000"/>
                  </a:solidFill>
                </a:defRPr>
              </a:pPr>
              <a:endParaRPr>
                <a:sym typeface="+mn-lt"/>
              </a:endParaRPr>
            </a:p>
          </p:txBody>
        </p:sp>
        <p:grpSp>
          <p:nvGrpSpPr>
            <p:cNvPr id="264" name="ï$ļiḓé">
              <a:extLst>
                <a:ext uri="{FF2B5EF4-FFF2-40B4-BE49-F238E27FC236}">
                  <a16:creationId xmlns:a16="http://schemas.microsoft.com/office/drawing/2014/main" id="{13C6378D-A5E6-4438-8FD0-596923861B24}"/>
                </a:ext>
              </a:extLst>
            </p:cNvPr>
            <p:cNvGrpSpPr/>
            <p:nvPr/>
          </p:nvGrpSpPr>
          <p:grpSpPr>
            <a:xfrm>
              <a:off x="6088120" y="2020596"/>
              <a:ext cx="1267729" cy="1434583"/>
              <a:chOff x="6088120" y="2020596"/>
              <a:chExt cx="1267729" cy="1434583"/>
            </a:xfrm>
          </p:grpSpPr>
          <p:sp>
            <p:nvSpPr>
              <p:cNvPr id="275" name="îṡlïḋé">
                <a:extLst>
                  <a:ext uri="{FF2B5EF4-FFF2-40B4-BE49-F238E27FC236}">
                    <a16:creationId xmlns:a16="http://schemas.microsoft.com/office/drawing/2014/main" id="{10C901E3-11B5-46C0-9C44-D84405C027F3}"/>
                  </a:ext>
                </a:extLst>
              </p:cNvPr>
              <p:cNvSpPr/>
              <p:nvPr/>
            </p:nvSpPr>
            <p:spPr>
              <a:xfrm>
                <a:off x="6118142" y="2412943"/>
                <a:ext cx="592454" cy="648228"/>
              </a:xfrm>
              <a:prstGeom prst="rect">
                <a:avLst/>
              </a:prstGeom>
              <a:solidFill>
                <a:schemeClr val="accent1"/>
              </a:solidFill>
              <a:ln w="12700" cap="flat">
                <a:noFill/>
                <a:miter lim="400000"/>
              </a:ln>
              <a:effectLst/>
            </p:spPr>
            <p:txBody>
              <a:bodyPr wrap="square" lIns="90000" tIns="46800" rIns="90000" bIns="46800" numCol="1"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sz="3200" cap="none">
                    <a:solidFill>
                      <a:srgbClr val="FFFFFF"/>
                    </a:solidFill>
                  </a:defRPr>
                </a:pPr>
                <a:r>
                  <a:rPr lang="en-US" altLang="zh-CN" sz="2800" b="1" dirty="0">
                    <a:sym typeface="+mn-lt"/>
                  </a:rPr>
                  <a:t>2</a:t>
                </a:r>
                <a:endParaRPr sz="2800" b="1" dirty="0">
                  <a:sym typeface="+mn-lt"/>
                </a:endParaRPr>
              </a:p>
            </p:txBody>
          </p:sp>
          <p:sp>
            <p:nvSpPr>
              <p:cNvPr id="276" name="íSľíḍe">
                <a:extLst>
                  <a:ext uri="{FF2B5EF4-FFF2-40B4-BE49-F238E27FC236}">
                    <a16:creationId xmlns:a16="http://schemas.microsoft.com/office/drawing/2014/main" id="{90313173-A221-49B0-8B66-A047D2FC33F5}"/>
                  </a:ext>
                </a:extLst>
              </p:cNvPr>
              <p:cNvSpPr/>
              <p:nvPr/>
            </p:nvSpPr>
            <p:spPr>
              <a:xfrm>
                <a:off x="6088120" y="2020596"/>
                <a:ext cx="1267729" cy="1432924"/>
              </a:xfrm>
              <a:custGeom>
                <a:avLst/>
                <a:gdLst/>
                <a:ahLst/>
                <a:cxnLst>
                  <a:cxn ang="0">
                    <a:pos x="wd2" y="hd2"/>
                  </a:cxn>
                  <a:cxn ang="5400000">
                    <a:pos x="wd2" y="hd2"/>
                  </a:cxn>
                  <a:cxn ang="10800000">
                    <a:pos x="wd2" y="hd2"/>
                  </a:cxn>
                  <a:cxn ang="16200000">
                    <a:pos x="wd2" y="hd2"/>
                  </a:cxn>
                </a:cxnLst>
                <a:rect l="0" t="0" r="r" b="b"/>
                <a:pathLst>
                  <a:path w="21600" h="21585" extrusionOk="0">
                    <a:moveTo>
                      <a:pt x="9959" y="21394"/>
                    </a:moveTo>
                    <a:lnTo>
                      <a:pt x="894" y="16867"/>
                    </a:lnTo>
                    <a:cubicBezTo>
                      <a:pt x="639" y="16746"/>
                      <a:pt x="423" y="16570"/>
                      <a:pt x="267" y="16355"/>
                    </a:cubicBezTo>
                    <a:cubicBezTo>
                      <a:pt x="112" y="16144"/>
                      <a:pt x="21" y="15901"/>
                      <a:pt x="0" y="15650"/>
                    </a:cubicBezTo>
                    <a:lnTo>
                      <a:pt x="0" y="15204"/>
                    </a:lnTo>
                    <a:lnTo>
                      <a:pt x="4900" y="15204"/>
                    </a:lnTo>
                    <a:cubicBezTo>
                      <a:pt x="7542" y="14971"/>
                      <a:pt x="9522" y="12961"/>
                      <a:pt x="9421" y="10615"/>
                    </a:cubicBezTo>
                    <a:cubicBezTo>
                      <a:pt x="9326" y="8405"/>
                      <a:pt x="7391" y="6600"/>
                      <a:pt x="4900" y="6397"/>
                    </a:cubicBezTo>
                    <a:lnTo>
                      <a:pt x="27" y="6397"/>
                    </a:lnTo>
                    <a:lnTo>
                      <a:pt x="27" y="5923"/>
                    </a:lnTo>
                    <a:cubicBezTo>
                      <a:pt x="85" y="5665"/>
                      <a:pt x="211" y="5422"/>
                      <a:pt x="397" y="5217"/>
                    </a:cubicBezTo>
                    <a:cubicBezTo>
                      <a:pt x="575" y="5018"/>
                      <a:pt x="804" y="4859"/>
                      <a:pt x="1063" y="4752"/>
                    </a:cubicBezTo>
                    <a:lnTo>
                      <a:pt x="10162" y="171"/>
                    </a:lnTo>
                    <a:cubicBezTo>
                      <a:pt x="10359" y="70"/>
                      <a:pt x="10581" y="12"/>
                      <a:pt x="10809" y="2"/>
                    </a:cubicBezTo>
                    <a:cubicBezTo>
                      <a:pt x="11087" y="-11"/>
                      <a:pt x="11364" y="48"/>
                      <a:pt x="11606" y="171"/>
                    </a:cubicBezTo>
                    <a:lnTo>
                      <a:pt x="20633" y="4823"/>
                    </a:lnTo>
                    <a:cubicBezTo>
                      <a:pt x="20937" y="4962"/>
                      <a:pt x="21189" y="5176"/>
                      <a:pt x="21361" y="5438"/>
                    </a:cubicBezTo>
                    <a:cubicBezTo>
                      <a:pt x="21505" y="5658"/>
                      <a:pt x="21587" y="5906"/>
                      <a:pt x="21600" y="6161"/>
                    </a:cubicBezTo>
                    <a:lnTo>
                      <a:pt x="21600" y="15566"/>
                    </a:lnTo>
                    <a:cubicBezTo>
                      <a:pt x="21586" y="15801"/>
                      <a:pt x="21504" y="16029"/>
                      <a:pt x="21364" y="16228"/>
                    </a:cubicBezTo>
                    <a:cubicBezTo>
                      <a:pt x="21201" y="16460"/>
                      <a:pt x="20966" y="16645"/>
                      <a:pt x="20686" y="16760"/>
                    </a:cubicBezTo>
                    <a:lnTo>
                      <a:pt x="11713" y="21383"/>
                    </a:lnTo>
                    <a:cubicBezTo>
                      <a:pt x="11433" y="21519"/>
                      <a:pt x="11119" y="21589"/>
                      <a:pt x="10800" y="21585"/>
                    </a:cubicBezTo>
                    <a:cubicBezTo>
                      <a:pt x="10506" y="21582"/>
                      <a:pt x="10218" y="21516"/>
                      <a:pt x="9959" y="21394"/>
                    </a:cubicBezTo>
                    <a:close/>
                  </a:path>
                </a:pathLst>
              </a:custGeom>
              <a:solidFill>
                <a:schemeClr val="bg1">
                  <a:lumMod val="95000"/>
                </a:schemeClr>
              </a:solidFill>
              <a:ln w="12700" cap="flat">
                <a:noFill/>
                <a:miter lim="400000"/>
              </a:ln>
              <a:effectLst/>
            </p:spPr>
            <p:txBody>
              <a:bodyPr wrap="square" lIns="71437" tIns="71437" rIns="71437" bIns="71437" numCol="1"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sz="3200" cap="none">
                    <a:solidFill>
                      <a:srgbClr val="000000"/>
                    </a:solidFill>
                  </a:defRPr>
                </a:pPr>
                <a:endParaRPr>
                  <a:sym typeface="+mn-lt"/>
                </a:endParaRPr>
              </a:p>
            </p:txBody>
          </p:sp>
          <p:sp>
            <p:nvSpPr>
              <p:cNvPr id="277" name="íṧḷiḋé">
                <a:extLst>
                  <a:ext uri="{FF2B5EF4-FFF2-40B4-BE49-F238E27FC236}">
                    <a16:creationId xmlns:a16="http://schemas.microsoft.com/office/drawing/2014/main" id="{3196950D-2417-4E02-BA8E-B18CC000102A}"/>
                  </a:ext>
                </a:extLst>
              </p:cNvPr>
              <p:cNvSpPr/>
              <p:nvPr/>
            </p:nvSpPr>
            <p:spPr>
              <a:xfrm>
                <a:off x="6726814" y="2022710"/>
                <a:ext cx="628814" cy="1432469"/>
              </a:xfrm>
              <a:custGeom>
                <a:avLst/>
                <a:gdLst/>
                <a:ahLst/>
                <a:cxnLst>
                  <a:cxn ang="0">
                    <a:pos x="wd2" y="hd2"/>
                  </a:cxn>
                  <a:cxn ang="5400000">
                    <a:pos x="wd2" y="hd2"/>
                  </a:cxn>
                  <a:cxn ang="10800000">
                    <a:pos x="wd2" y="hd2"/>
                  </a:cxn>
                  <a:cxn ang="16200000">
                    <a:pos x="wd2" y="hd2"/>
                  </a:cxn>
                </a:cxnLst>
                <a:rect l="0" t="0" r="r" b="b"/>
                <a:pathLst>
                  <a:path w="21595" h="21595" extrusionOk="0">
                    <a:moveTo>
                      <a:pt x="0" y="4"/>
                    </a:moveTo>
                    <a:lnTo>
                      <a:pt x="38" y="21595"/>
                    </a:lnTo>
                    <a:cubicBezTo>
                      <a:pt x="429" y="21576"/>
                      <a:pt x="813" y="21536"/>
                      <a:pt x="1181" y="21474"/>
                    </a:cubicBezTo>
                    <a:cubicBezTo>
                      <a:pt x="1609" y="21403"/>
                      <a:pt x="2011" y="21305"/>
                      <a:pt x="2374" y="21182"/>
                    </a:cubicBezTo>
                    <a:lnTo>
                      <a:pt x="19601" y="16781"/>
                    </a:lnTo>
                    <a:cubicBezTo>
                      <a:pt x="20180" y="16663"/>
                      <a:pt x="20673" y="16477"/>
                      <a:pt x="21025" y="16244"/>
                    </a:cubicBezTo>
                    <a:cubicBezTo>
                      <a:pt x="21401" y="15993"/>
                      <a:pt x="21600" y="15699"/>
                      <a:pt x="21595" y="15399"/>
                    </a:cubicBezTo>
                    <a:lnTo>
                      <a:pt x="21561" y="6225"/>
                    </a:lnTo>
                    <a:cubicBezTo>
                      <a:pt x="21577" y="5922"/>
                      <a:pt x="21395" y="5623"/>
                      <a:pt x="21034" y="5364"/>
                    </a:cubicBezTo>
                    <a:cubicBezTo>
                      <a:pt x="20684" y="5112"/>
                      <a:pt x="20180" y="4908"/>
                      <a:pt x="19579" y="4776"/>
                    </a:cubicBezTo>
                    <a:lnTo>
                      <a:pt x="1486" y="160"/>
                    </a:lnTo>
                    <a:cubicBezTo>
                      <a:pt x="1247" y="95"/>
                      <a:pt x="983" y="48"/>
                      <a:pt x="707" y="23"/>
                    </a:cubicBezTo>
                    <a:cubicBezTo>
                      <a:pt x="474" y="1"/>
                      <a:pt x="236" y="-5"/>
                      <a:pt x="0" y="4"/>
                    </a:cubicBezTo>
                    <a:close/>
                  </a:path>
                </a:pathLst>
              </a:custGeom>
              <a:solidFill>
                <a:schemeClr val="bg1">
                  <a:lumMod val="85000"/>
                </a:schemeClr>
              </a:solidFill>
              <a:ln w="12700" cap="flat">
                <a:noFill/>
                <a:miter lim="400000"/>
              </a:ln>
              <a:effectLst/>
            </p:spPr>
            <p:txBody>
              <a:bodyPr wrap="square" lIns="71437" tIns="71437" rIns="71437" bIns="71437" numCol="1"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sz="3200" cap="none">
                    <a:solidFill>
                      <a:srgbClr val="000000"/>
                    </a:solidFill>
                  </a:defRPr>
                </a:pPr>
                <a:endParaRPr>
                  <a:sym typeface="+mn-lt"/>
                </a:endParaRPr>
              </a:p>
            </p:txBody>
          </p:sp>
        </p:grpSp>
      </p:grpSp>
    </p:spTree>
    <p:custDataLst>
      <p:tags r:id="rId1"/>
    </p:custDataLst>
    <p:extLst>
      <p:ext uri="{BB962C8B-B14F-4D97-AF65-F5344CB8AC3E}">
        <p14:creationId xmlns:p14="http://schemas.microsoft.com/office/powerpoint/2010/main" val="25699994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íŝḻiḋê"/>
        <p:cNvGrpSpPr/>
        <p:nvPr/>
      </p:nvGrpSpPr>
      <p:grpSpPr>
        <a:xfrm>
          <a:off x="0" y="0"/>
          <a:ext cx="0" cy="0"/>
          <a:chOff x="0" y="0"/>
          <a:chExt cx="0" cy="0"/>
        </a:xfrm>
      </p:grpSpPr>
      <p:sp>
        <p:nvSpPr>
          <p:cNvPr id="5" name="îşļídè"/>
          <p:cNvSpPr>
            <a:spLocks noGrp="1"/>
          </p:cNvSpPr>
          <p:nvPr>
            <p:ph type="title"/>
          </p:nvPr>
        </p:nvSpPr>
        <p:spPr>
          <a:xfrm>
            <a:off x="2400300" y="3429000"/>
            <a:ext cx="7391400" cy="895350"/>
          </a:xfrm>
        </p:spPr>
        <p:txBody>
          <a:bodyPr>
            <a:normAutofit/>
          </a:bodyPr>
          <a:lstStyle/>
          <a:p>
            <a:pPr lvl="0" algn="ctr" fontAlgn="base">
              <a:spcBef>
                <a:spcPct val="0"/>
              </a:spcBef>
              <a:spcAft>
                <a:spcPct val="0"/>
              </a:spcAft>
              <a:tabLst>
                <a:tab pos="227965" algn="l"/>
              </a:tabLst>
              <a:defRPr/>
            </a:pPr>
            <a:r>
              <a:rPr lang="en-US" altLang="zh-CN" sz="4000" b="1" dirty="0">
                <a:sym typeface="+mn-lt"/>
              </a:rPr>
              <a:t>Preliminary Knowledge</a:t>
            </a:r>
          </a:p>
        </p:txBody>
      </p:sp>
      <p:sp>
        <p:nvSpPr>
          <p:cNvPr id="9" name="ïsliḋé">
            <a:extLst>
              <a:ext uri="{FF2B5EF4-FFF2-40B4-BE49-F238E27FC236}">
                <a16:creationId xmlns:a16="http://schemas.microsoft.com/office/drawing/2014/main" id="{04F69230-F3A6-4586-9371-A858F4763E9F}"/>
              </a:ext>
            </a:extLst>
          </p:cNvPr>
          <p:cNvSpPr txBox="1"/>
          <p:nvPr/>
        </p:nvSpPr>
        <p:spPr>
          <a:xfrm>
            <a:off x="5623932" y="1816100"/>
            <a:ext cx="944136" cy="778380"/>
          </a:xfrm>
          <a:prstGeom prst="rect">
            <a:avLst/>
          </a:prstGeom>
          <a:noFill/>
          <a:ln w="117475">
            <a:noFill/>
          </a:ln>
        </p:spPr>
        <p:txBody>
          <a:bodyPr wrap="none" rtlCol="0">
            <a:prstTxWarp prst="textPlain">
              <a:avLst/>
            </a:prstTxWarp>
            <a:spAutoFit/>
          </a:bodyPr>
          <a:lstStyle/>
          <a:p>
            <a:r>
              <a:rPr lang="en-US" altLang="zh-CN" b="1" spc="-150" dirty="0">
                <a:solidFill>
                  <a:schemeClr val="bg1"/>
                </a:solidFill>
                <a:cs typeface="Arial" panose="020B0604020202020204" pitchFamily="34" charset="0"/>
                <a:sym typeface="+mn-lt"/>
              </a:rPr>
              <a:t>0</a:t>
            </a:r>
            <a:r>
              <a:rPr lang="en-US" altLang="zh-CN" sz="100" b="1" spc="-150" dirty="0">
                <a:solidFill>
                  <a:schemeClr val="bg1"/>
                </a:solidFill>
                <a:cs typeface="Arial" panose="020B0604020202020204" pitchFamily="34" charset="0"/>
                <a:sym typeface="+mn-lt"/>
              </a:rPr>
              <a:t> </a:t>
            </a:r>
            <a:r>
              <a:rPr lang="en-US" altLang="zh-CN" b="1" spc="-150" dirty="0">
                <a:solidFill>
                  <a:schemeClr val="bg1"/>
                </a:solidFill>
                <a:cs typeface="Arial" panose="020B0604020202020204" pitchFamily="34" charset="0"/>
                <a:sym typeface="+mn-lt"/>
              </a:rPr>
              <a:t>2</a:t>
            </a:r>
            <a:endParaRPr lang="zh-CN" altLang="en-US" b="1" spc="-150" dirty="0">
              <a:solidFill>
                <a:schemeClr val="bg1"/>
              </a:solidFill>
              <a:cs typeface="Arial" panose="020B0604020202020204" pitchFamily="34" charset="0"/>
              <a:sym typeface="+mn-lt"/>
            </a:endParaRPr>
          </a:p>
        </p:txBody>
      </p:sp>
    </p:spTree>
    <p:custDataLst>
      <p:tags r:id="rId1"/>
    </p:custDataLst>
    <p:extLst>
      <p:ext uri="{BB962C8B-B14F-4D97-AF65-F5344CB8AC3E}">
        <p14:creationId xmlns:p14="http://schemas.microsoft.com/office/powerpoint/2010/main" val="33069662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íṣḷíďé"/>
        <p:cNvGrpSpPr/>
        <p:nvPr/>
      </p:nvGrpSpPr>
      <p:grpSpPr>
        <a:xfrm>
          <a:off x="0" y="0"/>
          <a:ext cx="0" cy="0"/>
          <a:chOff x="0" y="0"/>
          <a:chExt cx="0" cy="0"/>
        </a:xfrm>
      </p:grpSpPr>
      <p:sp>
        <p:nvSpPr>
          <p:cNvPr id="2" name="iṣḷîḑè">
            <a:extLst>
              <a:ext uri="{FF2B5EF4-FFF2-40B4-BE49-F238E27FC236}">
                <a16:creationId xmlns:a16="http://schemas.microsoft.com/office/drawing/2014/main" id="{62AB97E7-D08E-4E78-B066-885F4655A362}"/>
              </a:ext>
            </a:extLst>
          </p:cNvPr>
          <p:cNvSpPr>
            <a:spLocks noGrp="1"/>
          </p:cNvSpPr>
          <p:nvPr>
            <p:ph type="title"/>
          </p:nvPr>
        </p:nvSpPr>
        <p:spPr/>
        <p:txBody>
          <a:bodyPr/>
          <a:lstStyle/>
          <a:p>
            <a:r>
              <a:rPr lang="en-US" altLang="zh-CN" dirty="0">
                <a:latin typeface="+mn-lt"/>
                <a:sym typeface="+mn-lt"/>
              </a:rPr>
              <a:t>Zero Trust</a:t>
            </a:r>
            <a:endParaRPr lang="zh-CN" altLang="en-US" dirty="0">
              <a:latin typeface="+mn-lt"/>
              <a:sym typeface="+mn-lt"/>
            </a:endParaRPr>
          </a:p>
        </p:txBody>
      </p:sp>
      <p:sp>
        <p:nvSpPr>
          <p:cNvPr id="4" name="ïşḻíḑê">
            <a:extLst>
              <a:ext uri="{FF2B5EF4-FFF2-40B4-BE49-F238E27FC236}">
                <a16:creationId xmlns:a16="http://schemas.microsoft.com/office/drawing/2014/main" id="{77EA6578-5148-4B42-95FE-C95A7501B7E3}"/>
              </a:ext>
            </a:extLst>
          </p:cNvPr>
          <p:cNvSpPr>
            <a:spLocks noGrp="1"/>
          </p:cNvSpPr>
          <p:nvPr>
            <p:ph type="sldNum" sz="quarter" idx="12"/>
          </p:nvPr>
        </p:nvSpPr>
        <p:spPr/>
        <p:txBody>
          <a:bodyPr/>
          <a:lstStyle/>
          <a:p>
            <a:fld id="{5DD3DB80-B894-403A-B48E-6FDC1A72010E}" type="slidenum">
              <a:rPr lang="zh-CN" altLang="en-US" smtClean="0">
                <a:sym typeface="+mn-lt"/>
              </a:rPr>
              <a:pPr/>
              <a:t>7</a:t>
            </a:fld>
            <a:r>
              <a:rPr lang="zh-CN" altLang="en-US" sz="100">
                <a:sym typeface="+mn-lt"/>
              </a:rPr>
              <a:t> </a:t>
            </a:r>
          </a:p>
        </p:txBody>
      </p:sp>
      <p:sp>
        <p:nvSpPr>
          <p:cNvPr id="18" name="矩形 17">
            <a:extLst>
              <a:ext uri="{FF2B5EF4-FFF2-40B4-BE49-F238E27FC236}">
                <a16:creationId xmlns:a16="http://schemas.microsoft.com/office/drawing/2014/main" id="{978EED3F-DD3F-4F58-9647-47958A9A6B68}"/>
              </a:ext>
            </a:extLst>
          </p:cNvPr>
          <p:cNvSpPr/>
          <p:nvPr/>
        </p:nvSpPr>
        <p:spPr>
          <a:xfrm>
            <a:off x="770709" y="2246811"/>
            <a:ext cx="1201782" cy="3226526"/>
          </a:xfrm>
          <a:prstGeom prst="rect">
            <a:avLst/>
          </a:prstGeom>
        </p:spPr>
        <p:style>
          <a:lnRef idx="3">
            <a:schemeClr val="lt1"/>
          </a:lnRef>
          <a:fillRef idx="1">
            <a:schemeClr val="accent5"/>
          </a:fillRef>
          <a:effectRef idx="1">
            <a:schemeClr val="accent5"/>
          </a:effectRef>
          <a:fontRef idx="minor">
            <a:schemeClr val="lt1"/>
          </a:fontRef>
        </p:style>
        <p:txBody>
          <a:bodyPr rtlCol="0" anchor="ctr"/>
          <a:lstStyle/>
          <a:p>
            <a:pPr algn="ctr"/>
            <a:r>
              <a:rPr lang="en-US" altLang="zh-CN" sz="1800" dirty="0">
                <a:latin typeface="宋体" panose="02010600030101010101" pitchFamily="2" charset="-122"/>
                <a:ea typeface="宋体" panose="02010600030101010101" pitchFamily="2" charset="-122"/>
              </a:rPr>
              <a:t>Access subject</a:t>
            </a:r>
            <a:endParaRPr lang="zh-CN" altLang="en-US" dirty="0"/>
          </a:p>
        </p:txBody>
      </p:sp>
      <p:sp>
        <p:nvSpPr>
          <p:cNvPr id="41" name="矩形 40">
            <a:extLst>
              <a:ext uri="{FF2B5EF4-FFF2-40B4-BE49-F238E27FC236}">
                <a16:creationId xmlns:a16="http://schemas.microsoft.com/office/drawing/2014/main" id="{2BE19042-1016-40E9-8887-59AF5FEF4C3B}"/>
              </a:ext>
            </a:extLst>
          </p:cNvPr>
          <p:cNvSpPr/>
          <p:nvPr/>
        </p:nvSpPr>
        <p:spPr>
          <a:xfrm>
            <a:off x="5672543" y="2246811"/>
            <a:ext cx="1201782" cy="3226526"/>
          </a:xfrm>
          <a:prstGeom prst="rect">
            <a:avLst/>
          </a:prstGeom>
        </p:spPr>
        <p:style>
          <a:lnRef idx="3">
            <a:schemeClr val="lt1"/>
          </a:lnRef>
          <a:fillRef idx="1">
            <a:schemeClr val="accent5"/>
          </a:fillRef>
          <a:effectRef idx="1">
            <a:schemeClr val="accent5"/>
          </a:effectRef>
          <a:fontRef idx="minor">
            <a:schemeClr val="lt1"/>
          </a:fontRef>
        </p:style>
        <p:txBody>
          <a:bodyPr rtlCol="0" anchor="ctr"/>
          <a:lstStyle/>
          <a:p>
            <a:pPr algn="ctr"/>
            <a:r>
              <a:rPr lang="en-US" altLang="zh-CN" sz="1800" dirty="0">
                <a:latin typeface="宋体" panose="02010600030101010101" pitchFamily="2" charset="-122"/>
                <a:ea typeface="宋体" panose="02010600030101010101" pitchFamily="2" charset="-122"/>
              </a:rPr>
              <a:t>Visiting object</a:t>
            </a:r>
            <a:endParaRPr lang="zh-CN" altLang="en-US" dirty="0"/>
          </a:p>
        </p:txBody>
      </p:sp>
      <p:sp>
        <p:nvSpPr>
          <p:cNvPr id="19" name="矩形 18">
            <a:extLst>
              <a:ext uri="{FF2B5EF4-FFF2-40B4-BE49-F238E27FC236}">
                <a16:creationId xmlns:a16="http://schemas.microsoft.com/office/drawing/2014/main" id="{9E564DA9-A933-4059-8FC1-C45BE275366B}"/>
              </a:ext>
            </a:extLst>
          </p:cNvPr>
          <p:cNvSpPr/>
          <p:nvPr/>
        </p:nvSpPr>
        <p:spPr>
          <a:xfrm>
            <a:off x="2462764" y="2246810"/>
            <a:ext cx="2840756" cy="3226526"/>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zh-CN" altLang="en-US"/>
          </a:p>
        </p:txBody>
      </p:sp>
      <p:sp>
        <p:nvSpPr>
          <p:cNvPr id="20" name="流程图: 过程 19">
            <a:extLst>
              <a:ext uri="{FF2B5EF4-FFF2-40B4-BE49-F238E27FC236}">
                <a16:creationId xmlns:a16="http://schemas.microsoft.com/office/drawing/2014/main" id="{7F87AF9B-F3DF-433C-9C77-847063428215}"/>
              </a:ext>
            </a:extLst>
          </p:cNvPr>
          <p:cNvSpPr/>
          <p:nvPr/>
        </p:nvSpPr>
        <p:spPr>
          <a:xfrm>
            <a:off x="2799806" y="2361884"/>
            <a:ext cx="2233748" cy="549561"/>
          </a:xfrm>
          <a:prstGeom prst="flowChartProcess">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1800" dirty="0">
                <a:latin typeface="宋体" panose="02010600030101010101" pitchFamily="2" charset="-122"/>
                <a:ea typeface="宋体" panose="02010600030101010101" pitchFamily="2" charset="-122"/>
              </a:rPr>
              <a:t>Based on identity</a:t>
            </a:r>
            <a:endParaRPr lang="zh-CN" altLang="en-US" dirty="0"/>
          </a:p>
        </p:txBody>
      </p:sp>
      <p:sp>
        <p:nvSpPr>
          <p:cNvPr id="42" name="流程图: 过程 41">
            <a:extLst>
              <a:ext uri="{FF2B5EF4-FFF2-40B4-BE49-F238E27FC236}">
                <a16:creationId xmlns:a16="http://schemas.microsoft.com/office/drawing/2014/main" id="{6F57C877-5903-4B1A-8874-B920E31465A7}"/>
              </a:ext>
            </a:extLst>
          </p:cNvPr>
          <p:cNvSpPr/>
          <p:nvPr/>
        </p:nvSpPr>
        <p:spPr>
          <a:xfrm>
            <a:off x="2799806" y="3062438"/>
            <a:ext cx="2233748" cy="517555"/>
          </a:xfrm>
          <a:prstGeom prst="flowChartProcess">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dirty="0">
                <a:latin typeface="宋体" panose="02010600030101010101" pitchFamily="2" charset="-122"/>
                <a:ea typeface="宋体" panose="02010600030101010101" pitchFamily="2" charset="-122"/>
              </a:rPr>
              <a:t>Business security access</a:t>
            </a:r>
            <a:endParaRPr lang="zh-CN" altLang="en-US" dirty="0"/>
          </a:p>
        </p:txBody>
      </p:sp>
      <p:sp>
        <p:nvSpPr>
          <p:cNvPr id="43" name="流程图: 过程 42">
            <a:extLst>
              <a:ext uri="{FF2B5EF4-FFF2-40B4-BE49-F238E27FC236}">
                <a16:creationId xmlns:a16="http://schemas.microsoft.com/office/drawing/2014/main" id="{E5395892-14C1-4F96-A9C7-D185FDB88181}"/>
              </a:ext>
            </a:extLst>
          </p:cNvPr>
          <p:cNvSpPr/>
          <p:nvPr/>
        </p:nvSpPr>
        <p:spPr>
          <a:xfrm>
            <a:off x="2799806" y="4024167"/>
            <a:ext cx="2233748" cy="590937"/>
          </a:xfrm>
          <a:prstGeom prst="flowChartProcess">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1800" dirty="0">
                <a:latin typeface="宋体" panose="02010600030101010101" pitchFamily="2" charset="-122"/>
                <a:ea typeface="宋体" panose="02010600030101010101" pitchFamily="2" charset="-122"/>
              </a:rPr>
              <a:t>Continuous trust assessment</a:t>
            </a:r>
            <a:endParaRPr lang="zh-CN" altLang="en-US" dirty="0"/>
          </a:p>
        </p:txBody>
      </p:sp>
      <p:sp>
        <p:nvSpPr>
          <p:cNvPr id="44" name="流程图: 过程 43">
            <a:extLst>
              <a:ext uri="{FF2B5EF4-FFF2-40B4-BE49-F238E27FC236}">
                <a16:creationId xmlns:a16="http://schemas.microsoft.com/office/drawing/2014/main" id="{D4E40FCC-31FA-44A9-9E98-852510473659}"/>
              </a:ext>
            </a:extLst>
          </p:cNvPr>
          <p:cNvSpPr/>
          <p:nvPr/>
        </p:nvSpPr>
        <p:spPr>
          <a:xfrm>
            <a:off x="2766268" y="4737665"/>
            <a:ext cx="2233748" cy="590937"/>
          </a:xfrm>
          <a:prstGeom prst="flowChartProcess">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1800" dirty="0">
                <a:latin typeface="宋体" panose="02010600030101010101" pitchFamily="2" charset="-122"/>
                <a:ea typeface="宋体" panose="02010600030101010101" pitchFamily="2" charset="-122"/>
              </a:rPr>
              <a:t>Dynamic access control</a:t>
            </a:r>
            <a:endParaRPr lang="zh-CN" altLang="en-US" sz="1800" dirty="0">
              <a:latin typeface="宋体" panose="02010600030101010101" pitchFamily="2" charset="-122"/>
              <a:ea typeface="宋体" panose="02010600030101010101" pitchFamily="2" charset="-122"/>
            </a:endParaRPr>
          </a:p>
          <a:p>
            <a:pPr algn="ctr"/>
            <a:endParaRPr lang="zh-CN" altLang="en-US" dirty="0"/>
          </a:p>
        </p:txBody>
      </p:sp>
      <p:sp>
        <p:nvSpPr>
          <p:cNvPr id="21" name="箭头: 右 20">
            <a:extLst>
              <a:ext uri="{FF2B5EF4-FFF2-40B4-BE49-F238E27FC236}">
                <a16:creationId xmlns:a16="http://schemas.microsoft.com/office/drawing/2014/main" id="{9074C4D7-0E36-4954-81F4-7F5D32412BFD}"/>
              </a:ext>
            </a:extLst>
          </p:cNvPr>
          <p:cNvSpPr/>
          <p:nvPr/>
        </p:nvSpPr>
        <p:spPr>
          <a:xfrm>
            <a:off x="2055447" y="3579994"/>
            <a:ext cx="3555899" cy="366562"/>
          </a:xfrm>
          <a:prstGeom prst="rightArrow">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altLang="zh-CN" sz="1200" dirty="0"/>
              <a:t>Don’t trust </a:t>
            </a:r>
            <a:r>
              <a:rPr lang="en-US" altLang="zh-CN" sz="1200" dirty="0" err="1"/>
              <a:t>defaultly</a:t>
            </a:r>
            <a:r>
              <a:rPr lang="zh-CN" altLang="en-US" sz="1200" dirty="0"/>
              <a:t>                       </a:t>
            </a:r>
            <a:r>
              <a:rPr lang="en-US" altLang="zh-CN" sz="1200" dirty="0">
                <a:ea typeface="宋体" panose="02010600030101010101" pitchFamily="2" charset="-122"/>
              </a:rPr>
              <a:t>Dynamic trust</a:t>
            </a:r>
            <a:endParaRPr lang="zh-CN" altLang="en-US" sz="1800" dirty="0">
              <a:ea typeface="宋体" panose="02010600030101010101" pitchFamily="2" charset="-122"/>
            </a:endParaRPr>
          </a:p>
        </p:txBody>
      </p:sp>
      <p:grpSp>
        <p:nvGrpSpPr>
          <p:cNvPr id="47" name="ïṡľïďè">
            <a:extLst>
              <a:ext uri="{FF2B5EF4-FFF2-40B4-BE49-F238E27FC236}">
                <a16:creationId xmlns:a16="http://schemas.microsoft.com/office/drawing/2014/main" id="{D7E2FA13-5BDF-44F3-B232-B34778F54983}"/>
              </a:ext>
            </a:extLst>
          </p:cNvPr>
          <p:cNvGrpSpPr/>
          <p:nvPr/>
        </p:nvGrpSpPr>
        <p:grpSpPr>
          <a:xfrm>
            <a:off x="7370057" y="2246810"/>
            <a:ext cx="4536598" cy="4338816"/>
            <a:chOff x="870899" y="2053182"/>
            <a:chExt cx="3190972" cy="2397632"/>
          </a:xfrm>
        </p:grpSpPr>
        <p:sp>
          <p:nvSpPr>
            <p:cNvPr id="48" name="ïšļîďè">
              <a:extLst>
                <a:ext uri="{FF2B5EF4-FFF2-40B4-BE49-F238E27FC236}">
                  <a16:creationId xmlns:a16="http://schemas.microsoft.com/office/drawing/2014/main" id="{C7C3485E-D529-4333-90B9-CBF29CCFA111}"/>
                </a:ext>
              </a:extLst>
            </p:cNvPr>
            <p:cNvSpPr/>
            <p:nvPr/>
          </p:nvSpPr>
          <p:spPr bwMode="auto">
            <a:xfrm>
              <a:off x="947447" y="2053182"/>
              <a:ext cx="3114424" cy="2397632"/>
            </a:xfrm>
            <a:custGeom>
              <a:avLst/>
              <a:gdLst>
                <a:gd name="T0" fmla="*/ 185 w 5228"/>
                <a:gd name="T1" fmla="*/ 0 h 6450"/>
                <a:gd name="T2" fmla="*/ 5044 w 5228"/>
                <a:gd name="T3" fmla="*/ 0 h 6450"/>
                <a:gd name="T4" fmla="*/ 5228 w 5228"/>
                <a:gd name="T5" fmla="*/ 184 h 6450"/>
                <a:gd name="T6" fmla="*/ 5228 w 5228"/>
                <a:gd name="T7" fmla="*/ 6266 h 6450"/>
                <a:gd name="T8" fmla="*/ 5044 w 5228"/>
                <a:gd name="T9" fmla="*/ 6450 h 6450"/>
                <a:gd name="T10" fmla="*/ 185 w 5228"/>
                <a:gd name="T11" fmla="*/ 6450 h 6450"/>
                <a:gd name="T12" fmla="*/ 0 w 5228"/>
                <a:gd name="T13" fmla="*/ 6266 h 6450"/>
                <a:gd name="T14" fmla="*/ 0 w 5228"/>
                <a:gd name="T15" fmla="*/ 184 h 6450"/>
                <a:gd name="T16" fmla="*/ 185 w 5228"/>
                <a:gd name="T17" fmla="*/ 0 h 6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8" h="6450">
                  <a:moveTo>
                    <a:pt x="185" y="0"/>
                  </a:moveTo>
                  <a:lnTo>
                    <a:pt x="5044" y="0"/>
                  </a:lnTo>
                  <a:cubicBezTo>
                    <a:pt x="5146" y="0"/>
                    <a:pt x="5228" y="83"/>
                    <a:pt x="5228" y="184"/>
                  </a:cubicBezTo>
                  <a:lnTo>
                    <a:pt x="5228" y="6266"/>
                  </a:lnTo>
                  <a:cubicBezTo>
                    <a:pt x="5228" y="6367"/>
                    <a:pt x="5146" y="6450"/>
                    <a:pt x="5044" y="6450"/>
                  </a:cubicBezTo>
                  <a:lnTo>
                    <a:pt x="185" y="6450"/>
                  </a:lnTo>
                  <a:cubicBezTo>
                    <a:pt x="83" y="6450"/>
                    <a:pt x="0" y="6367"/>
                    <a:pt x="0" y="6266"/>
                  </a:cubicBezTo>
                  <a:lnTo>
                    <a:pt x="0" y="184"/>
                  </a:lnTo>
                  <a:cubicBezTo>
                    <a:pt x="0" y="83"/>
                    <a:pt x="83" y="0"/>
                    <a:pt x="185" y="0"/>
                  </a:cubicBezTo>
                  <a:close/>
                </a:path>
              </a:pathLst>
            </a:custGeom>
            <a:solidFill>
              <a:schemeClr val="bg1">
                <a:lumMod val="95000"/>
              </a:schemeClr>
            </a:solidFill>
            <a:ln>
              <a:solidFill>
                <a:schemeClr val="bg1">
                  <a:lumMod val="75000"/>
                </a:schemeClr>
              </a:solidFill>
            </a:ln>
          </p:spPr>
          <p:txBody>
            <a:bodyPr vert="horz" wrap="square" lIns="91440" tIns="45720" rIns="91440" bIns="45720" numCol="1" anchor="t" anchorCtr="0" compatLnSpc="1">
              <a:prstTxWarp prst="textNoShape">
                <a:avLst/>
              </a:prstTxWarp>
              <a:normAutofit/>
            </a:bodyPr>
            <a:lstStyle/>
            <a:p>
              <a:endParaRPr lang="zh-CN" altLang="en-US">
                <a:sym typeface="+mn-lt"/>
              </a:endParaRPr>
            </a:p>
          </p:txBody>
        </p:sp>
        <p:grpSp>
          <p:nvGrpSpPr>
            <p:cNvPr id="49" name="iş1iḓè">
              <a:extLst>
                <a:ext uri="{FF2B5EF4-FFF2-40B4-BE49-F238E27FC236}">
                  <a16:creationId xmlns:a16="http://schemas.microsoft.com/office/drawing/2014/main" id="{2F21F5BA-FBED-4FC9-A79F-29745200C477}"/>
                </a:ext>
              </a:extLst>
            </p:cNvPr>
            <p:cNvGrpSpPr/>
            <p:nvPr/>
          </p:nvGrpSpPr>
          <p:grpSpPr>
            <a:xfrm>
              <a:off x="870899" y="2161193"/>
              <a:ext cx="2094682" cy="472678"/>
              <a:chOff x="861755" y="2161193"/>
              <a:chExt cx="2094682" cy="472678"/>
            </a:xfrm>
          </p:grpSpPr>
          <p:sp>
            <p:nvSpPr>
              <p:cNvPr id="51" name="ï$ļiďê">
                <a:extLst>
                  <a:ext uri="{FF2B5EF4-FFF2-40B4-BE49-F238E27FC236}">
                    <a16:creationId xmlns:a16="http://schemas.microsoft.com/office/drawing/2014/main" id="{28132017-3448-415F-B754-8D028CA3AD0C}"/>
                  </a:ext>
                </a:extLst>
              </p:cNvPr>
              <p:cNvSpPr/>
              <p:nvPr/>
            </p:nvSpPr>
            <p:spPr bwMode="auto">
              <a:xfrm>
                <a:off x="861755" y="2161193"/>
                <a:ext cx="80931" cy="472678"/>
              </a:xfrm>
              <a:custGeom>
                <a:avLst/>
                <a:gdLst>
                  <a:gd name="T0" fmla="*/ 139 w 139"/>
                  <a:gd name="T1" fmla="*/ 0 h 806"/>
                  <a:gd name="T2" fmla="*/ 0 w 139"/>
                  <a:gd name="T3" fmla="*/ 110 h 806"/>
                  <a:gd name="T4" fmla="*/ 0 w 139"/>
                  <a:gd name="T5" fmla="*/ 806 h 806"/>
                  <a:gd name="T6" fmla="*/ 139 w 139"/>
                  <a:gd name="T7" fmla="*/ 696 h 806"/>
                  <a:gd name="T8" fmla="*/ 139 w 139"/>
                  <a:gd name="T9" fmla="*/ 0 h 806"/>
                </a:gdLst>
                <a:ahLst/>
                <a:cxnLst>
                  <a:cxn ang="0">
                    <a:pos x="T0" y="T1"/>
                  </a:cxn>
                  <a:cxn ang="0">
                    <a:pos x="T2" y="T3"/>
                  </a:cxn>
                  <a:cxn ang="0">
                    <a:pos x="T4" y="T5"/>
                  </a:cxn>
                  <a:cxn ang="0">
                    <a:pos x="T6" y="T7"/>
                  </a:cxn>
                  <a:cxn ang="0">
                    <a:pos x="T8" y="T9"/>
                  </a:cxn>
                </a:cxnLst>
                <a:rect l="0" t="0" r="r" b="b"/>
                <a:pathLst>
                  <a:path w="139" h="806">
                    <a:moveTo>
                      <a:pt x="139" y="0"/>
                    </a:moveTo>
                    <a:lnTo>
                      <a:pt x="0" y="110"/>
                    </a:lnTo>
                    <a:lnTo>
                      <a:pt x="0" y="806"/>
                    </a:lnTo>
                    <a:lnTo>
                      <a:pt x="139" y="696"/>
                    </a:lnTo>
                    <a:lnTo>
                      <a:pt x="139" y="0"/>
                    </a:ln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normAutofit/>
              </a:bodyPr>
              <a:lstStyle/>
              <a:p>
                <a:endParaRPr lang="zh-CN" altLang="en-US">
                  <a:sym typeface="+mn-lt"/>
                </a:endParaRPr>
              </a:p>
            </p:txBody>
          </p:sp>
          <p:sp>
            <p:nvSpPr>
              <p:cNvPr id="52" name="ïṡlîḑé">
                <a:extLst>
                  <a:ext uri="{FF2B5EF4-FFF2-40B4-BE49-F238E27FC236}">
                    <a16:creationId xmlns:a16="http://schemas.microsoft.com/office/drawing/2014/main" id="{AF7B9FC0-FFED-42B5-A529-DAC771661FDB}"/>
                  </a:ext>
                </a:extLst>
              </p:cNvPr>
              <p:cNvSpPr/>
              <p:nvPr/>
            </p:nvSpPr>
            <p:spPr bwMode="auto">
              <a:xfrm>
                <a:off x="861755" y="2225487"/>
                <a:ext cx="2094682" cy="408384"/>
              </a:xfrm>
              <a:custGeom>
                <a:avLst/>
                <a:gdLst>
                  <a:gd name="T0" fmla="*/ 3591 w 3591"/>
                  <a:gd name="T1" fmla="*/ 0 h 696"/>
                  <a:gd name="T2" fmla="*/ 0 w 3591"/>
                  <a:gd name="T3" fmla="*/ 0 h 696"/>
                  <a:gd name="T4" fmla="*/ 0 w 3591"/>
                  <a:gd name="T5" fmla="*/ 696 h 696"/>
                  <a:gd name="T6" fmla="*/ 3591 w 3591"/>
                  <a:gd name="T7" fmla="*/ 696 h 696"/>
                  <a:gd name="T8" fmla="*/ 3383 w 3591"/>
                  <a:gd name="T9" fmla="*/ 353 h 696"/>
                  <a:gd name="T10" fmla="*/ 3591 w 3591"/>
                  <a:gd name="T11" fmla="*/ 0 h 696"/>
                </a:gdLst>
                <a:ahLst/>
                <a:cxnLst>
                  <a:cxn ang="0">
                    <a:pos x="T0" y="T1"/>
                  </a:cxn>
                  <a:cxn ang="0">
                    <a:pos x="T2" y="T3"/>
                  </a:cxn>
                  <a:cxn ang="0">
                    <a:pos x="T4" y="T5"/>
                  </a:cxn>
                  <a:cxn ang="0">
                    <a:pos x="T6" y="T7"/>
                  </a:cxn>
                  <a:cxn ang="0">
                    <a:pos x="T8" y="T9"/>
                  </a:cxn>
                  <a:cxn ang="0">
                    <a:pos x="T10" y="T11"/>
                  </a:cxn>
                </a:cxnLst>
                <a:rect l="0" t="0" r="r" b="b"/>
                <a:pathLst>
                  <a:path w="3591" h="696">
                    <a:moveTo>
                      <a:pt x="3591" y="0"/>
                    </a:moveTo>
                    <a:lnTo>
                      <a:pt x="0" y="0"/>
                    </a:lnTo>
                    <a:lnTo>
                      <a:pt x="0" y="696"/>
                    </a:lnTo>
                    <a:lnTo>
                      <a:pt x="3591" y="696"/>
                    </a:lnTo>
                    <a:lnTo>
                      <a:pt x="3383" y="353"/>
                    </a:lnTo>
                    <a:lnTo>
                      <a:pt x="3591" y="0"/>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normAutofit/>
              </a:bodyPr>
              <a:lstStyle/>
              <a:p>
                <a:endParaRPr lang="zh-CN" altLang="en-US">
                  <a:sym typeface="+mn-lt"/>
                </a:endParaRPr>
              </a:p>
            </p:txBody>
          </p:sp>
          <p:sp>
            <p:nvSpPr>
              <p:cNvPr id="53" name="iṩḻíďè">
                <a:extLst>
                  <a:ext uri="{FF2B5EF4-FFF2-40B4-BE49-F238E27FC236}">
                    <a16:creationId xmlns:a16="http://schemas.microsoft.com/office/drawing/2014/main" id="{B8402860-A0EB-4683-9D2C-36F7FD6A6615}"/>
                  </a:ext>
                </a:extLst>
              </p:cNvPr>
              <p:cNvSpPr txBox="1"/>
              <p:nvPr/>
            </p:nvSpPr>
            <p:spPr>
              <a:xfrm>
                <a:off x="1052013" y="2245013"/>
                <a:ext cx="1765929" cy="369332"/>
              </a:xfrm>
              <a:prstGeom prst="rect">
                <a:avLst/>
              </a:prstGeom>
              <a:noFill/>
            </p:spPr>
            <p:txBody>
              <a:bodyPr wrap="square" lIns="91440" tIns="45720" rIns="91440" bIns="45720" rtlCol="0" anchor="ctr">
                <a:normAutofit/>
              </a:bodyPr>
              <a:lstStyle/>
              <a:p>
                <a:r>
                  <a:rPr lang="en-US" altLang="zh-CN" sz="1800" dirty="0">
                    <a:latin typeface="宋体" panose="02010600030101010101" pitchFamily="2" charset="-122"/>
                    <a:ea typeface="宋体" panose="02010600030101010101" pitchFamily="2" charset="-122"/>
                  </a:rPr>
                  <a:t>Key Capability </a:t>
                </a:r>
                <a:r>
                  <a:rPr lang="en-US" altLang="zh-CN" dirty="0">
                    <a:latin typeface="宋体" panose="02010600030101010101" pitchFamily="2" charset="-122"/>
                    <a:ea typeface="宋体" panose="02010600030101010101" pitchFamily="2" charset="-122"/>
                  </a:rPr>
                  <a:t>M</a:t>
                </a:r>
                <a:r>
                  <a:rPr lang="en-US" altLang="zh-CN" sz="1800" dirty="0">
                    <a:latin typeface="宋体" panose="02010600030101010101" pitchFamily="2" charset="-122"/>
                    <a:ea typeface="宋体" panose="02010600030101010101" pitchFamily="2" charset="-122"/>
                  </a:rPr>
                  <a:t>odel</a:t>
                </a:r>
                <a:endParaRPr lang="zh-CN" altLang="en-US" sz="1800" dirty="0">
                  <a:latin typeface="宋体" panose="02010600030101010101" pitchFamily="2" charset="-122"/>
                  <a:ea typeface="宋体" panose="02010600030101010101" pitchFamily="2" charset="-122"/>
                </a:endParaRPr>
              </a:p>
            </p:txBody>
          </p:sp>
        </p:grpSp>
        <p:sp>
          <p:nvSpPr>
            <p:cNvPr id="50" name="iŝľîḑê">
              <a:extLst>
                <a:ext uri="{FF2B5EF4-FFF2-40B4-BE49-F238E27FC236}">
                  <a16:creationId xmlns:a16="http://schemas.microsoft.com/office/drawing/2014/main" id="{91CD6F7B-D0A2-4FF9-8641-64771D8B78D7}"/>
                </a:ext>
              </a:extLst>
            </p:cNvPr>
            <p:cNvSpPr txBox="1"/>
            <p:nvPr/>
          </p:nvSpPr>
          <p:spPr>
            <a:xfrm>
              <a:off x="1003917" y="2752343"/>
              <a:ext cx="3001485" cy="1599319"/>
            </a:xfrm>
            <a:prstGeom prst="rect">
              <a:avLst/>
            </a:prstGeom>
            <a:noFill/>
          </p:spPr>
          <p:txBody>
            <a:bodyPr wrap="square" lIns="91440" tIns="45720" rIns="91440" bIns="45720" rtlCol="0">
              <a:normAutofit fontScale="77500" lnSpcReduction="20000"/>
            </a:bodyPr>
            <a:lstStyle/>
            <a:p>
              <a:pPr marL="742950" lvl="1" indent="-285750">
                <a:lnSpc>
                  <a:spcPct val="150000"/>
                </a:lnSpc>
                <a:buFont typeface="Arial" panose="020B0604020202020204" pitchFamily="34" charset="0"/>
                <a:buChar char="•"/>
              </a:pPr>
              <a:r>
                <a:rPr lang="en-US" altLang="zh-CN" dirty="0">
                  <a:latin typeface="宋体" panose="02010600030101010101" pitchFamily="2" charset="-122"/>
                  <a:ea typeface="宋体" panose="02010600030101010101" pitchFamily="2" charset="-122"/>
                </a:rPr>
                <a:t>The key ability of zero-trust security can be summarized as identity-based, business security access, continuous trust assessment and dynamic access control, which are mapped to a set of core architectural components that interact with each other and</a:t>
              </a:r>
              <a:r>
                <a:rPr lang="zh-CN" altLang="en-US" dirty="0">
                  <a:latin typeface="宋体" panose="02010600030101010101" pitchFamily="2" charset="-122"/>
                  <a:ea typeface="宋体" panose="02010600030101010101" pitchFamily="2" charset="-122"/>
                </a:rPr>
                <a:t> </a:t>
              </a:r>
              <a:r>
                <a:rPr lang="en-US" altLang="zh-CN" dirty="0">
                  <a:latin typeface="宋体" panose="02010600030101010101" pitchFamily="2" charset="-122"/>
                  <a:ea typeface="宋体" panose="02010600030101010101" pitchFamily="2" charset="-122"/>
                </a:rPr>
                <a:t>have high adaptability to various business scenarios.</a:t>
              </a:r>
              <a:endParaRPr lang="en-US" altLang="zh-CN" sz="900" dirty="0">
                <a:sym typeface="+mn-lt"/>
              </a:endParaRPr>
            </a:p>
          </p:txBody>
        </p:sp>
      </p:grpSp>
      <p:sp>
        <p:nvSpPr>
          <p:cNvPr id="54" name="íšľîďè">
            <a:extLst>
              <a:ext uri="{FF2B5EF4-FFF2-40B4-BE49-F238E27FC236}">
                <a16:creationId xmlns:a16="http://schemas.microsoft.com/office/drawing/2014/main" id="{323F69FB-52AE-4188-AB6B-F273373AD55E}"/>
              </a:ext>
            </a:extLst>
          </p:cNvPr>
          <p:cNvSpPr/>
          <p:nvPr/>
        </p:nvSpPr>
        <p:spPr bwMode="auto">
          <a:xfrm>
            <a:off x="8913465" y="1623730"/>
            <a:ext cx="454238" cy="488470"/>
          </a:xfrm>
          <a:custGeom>
            <a:avLst/>
            <a:gdLst>
              <a:gd name="connsiteX0" fmla="*/ 8038 w 487162"/>
              <a:gd name="connsiteY0" fmla="*/ 513398 h 523875"/>
              <a:gd name="connsiteX1" fmla="*/ 7467 w 487162"/>
              <a:gd name="connsiteY1" fmla="*/ 512731 h 523875"/>
              <a:gd name="connsiteX2" fmla="*/ 7467 w 487162"/>
              <a:gd name="connsiteY2" fmla="*/ 512731 h 523875"/>
              <a:gd name="connsiteX3" fmla="*/ 6991 w 487162"/>
              <a:gd name="connsiteY3" fmla="*/ 512064 h 523875"/>
              <a:gd name="connsiteX4" fmla="*/ 4990 w 487162"/>
              <a:gd name="connsiteY4" fmla="*/ 509016 h 523875"/>
              <a:gd name="connsiteX5" fmla="*/ 4990 w 487162"/>
              <a:gd name="connsiteY5" fmla="*/ 509016 h 523875"/>
              <a:gd name="connsiteX6" fmla="*/ 4514 w 487162"/>
              <a:gd name="connsiteY6" fmla="*/ 508254 h 523875"/>
              <a:gd name="connsiteX7" fmla="*/ 3752 w 487162"/>
              <a:gd name="connsiteY7" fmla="*/ 506730 h 523875"/>
              <a:gd name="connsiteX8" fmla="*/ 3085 w 487162"/>
              <a:gd name="connsiteY8" fmla="*/ 505111 h 523875"/>
              <a:gd name="connsiteX9" fmla="*/ 2990 w 487162"/>
              <a:gd name="connsiteY9" fmla="*/ 504920 h 523875"/>
              <a:gd name="connsiteX10" fmla="*/ 2895 w 487162"/>
              <a:gd name="connsiteY10" fmla="*/ 504635 h 523875"/>
              <a:gd name="connsiteX11" fmla="*/ 2895 w 487162"/>
              <a:gd name="connsiteY11" fmla="*/ 504444 h 523875"/>
              <a:gd name="connsiteX12" fmla="*/ 2228 w 487162"/>
              <a:gd name="connsiteY12" fmla="*/ 502444 h 523875"/>
              <a:gd name="connsiteX13" fmla="*/ 1847 w 487162"/>
              <a:gd name="connsiteY13" fmla="*/ 501110 h 523875"/>
              <a:gd name="connsiteX14" fmla="*/ 1371 w 487162"/>
              <a:gd name="connsiteY14" fmla="*/ 499205 h 523875"/>
              <a:gd name="connsiteX15" fmla="*/ 514 w 487162"/>
              <a:gd name="connsiteY15" fmla="*/ 494919 h 523875"/>
              <a:gd name="connsiteX16" fmla="*/ 228 w 487162"/>
              <a:gd name="connsiteY16" fmla="*/ 492443 h 523875"/>
              <a:gd name="connsiteX17" fmla="*/ 37 w 487162"/>
              <a:gd name="connsiteY17" fmla="*/ 485870 h 523875"/>
              <a:gd name="connsiteX18" fmla="*/ 4609 w 487162"/>
              <a:gd name="connsiteY18" fmla="*/ 467582 h 523875"/>
              <a:gd name="connsiteX19" fmla="*/ 154247 w 487162"/>
              <a:gd name="connsiteY19" fmla="*/ 150876 h 523875"/>
              <a:gd name="connsiteX20" fmla="*/ 157867 w 487162"/>
              <a:gd name="connsiteY20" fmla="*/ 134588 h 523875"/>
              <a:gd name="connsiteX21" fmla="*/ 157867 w 487162"/>
              <a:gd name="connsiteY21" fmla="*/ 19050 h 523875"/>
              <a:gd name="connsiteX22" fmla="*/ 119767 w 487162"/>
              <a:gd name="connsiteY22" fmla="*/ 19050 h 523875"/>
              <a:gd name="connsiteX23" fmla="*/ 119767 w 487162"/>
              <a:gd name="connsiteY23" fmla="*/ 0 h 523875"/>
              <a:gd name="connsiteX24" fmla="*/ 367417 w 487162"/>
              <a:gd name="connsiteY24" fmla="*/ 0 h 523875"/>
              <a:gd name="connsiteX25" fmla="*/ 367417 w 487162"/>
              <a:gd name="connsiteY25" fmla="*/ 19050 h 523875"/>
              <a:gd name="connsiteX26" fmla="*/ 329317 w 487162"/>
              <a:gd name="connsiteY26" fmla="*/ 19050 h 523875"/>
              <a:gd name="connsiteX27" fmla="*/ 329317 w 487162"/>
              <a:gd name="connsiteY27" fmla="*/ 134684 h 523875"/>
              <a:gd name="connsiteX28" fmla="*/ 332936 w 487162"/>
              <a:gd name="connsiteY28" fmla="*/ 150971 h 523875"/>
              <a:gd name="connsiteX29" fmla="*/ 482574 w 487162"/>
              <a:gd name="connsiteY29" fmla="*/ 467678 h 523875"/>
              <a:gd name="connsiteX30" fmla="*/ 484098 w 487162"/>
              <a:gd name="connsiteY30" fmla="*/ 504920 h 523875"/>
              <a:gd name="connsiteX31" fmla="*/ 484003 w 487162"/>
              <a:gd name="connsiteY31" fmla="*/ 505111 h 523875"/>
              <a:gd name="connsiteX32" fmla="*/ 483431 w 487162"/>
              <a:gd name="connsiteY32" fmla="*/ 506540 h 523875"/>
              <a:gd name="connsiteX33" fmla="*/ 458571 w 487162"/>
              <a:gd name="connsiteY33" fmla="*/ 523780 h 523875"/>
              <a:gd name="connsiteX34" fmla="*/ 456666 w 487162"/>
              <a:gd name="connsiteY34" fmla="*/ 523875 h 523875"/>
              <a:gd name="connsiteX35" fmla="*/ 30422 w 487162"/>
              <a:gd name="connsiteY35" fmla="*/ 523875 h 523875"/>
              <a:gd name="connsiteX36" fmla="*/ 28612 w 487162"/>
              <a:gd name="connsiteY36" fmla="*/ 523780 h 523875"/>
              <a:gd name="connsiteX37" fmla="*/ 26136 w 487162"/>
              <a:gd name="connsiteY37" fmla="*/ 523494 h 523875"/>
              <a:gd name="connsiteX38" fmla="*/ 22326 w 487162"/>
              <a:gd name="connsiteY38" fmla="*/ 522637 h 523875"/>
              <a:gd name="connsiteX39" fmla="*/ 22326 w 487162"/>
              <a:gd name="connsiteY39" fmla="*/ 522637 h 523875"/>
              <a:gd name="connsiteX40" fmla="*/ 16801 w 487162"/>
              <a:gd name="connsiteY40" fmla="*/ 520351 h 523875"/>
              <a:gd name="connsiteX41" fmla="*/ 15373 w 487162"/>
              <a:gd name="connsiteY41" fmla="*/ 519589 h 523875"/>
              <a:gd name="connsiteX42" fmla="*/ 14420 w 487162"/>
              <a:gd name="connsiteY42" fmla="*/ 519017 h 523875"/>
              <a:gd name="connsiteX43" fmla="*/ 9467 w 487162"/>
              <a:gd name="connsiteY43" fmla="*/ 514922 h 523875"/>
              <a:gd name="connsiteX44" fmla="*/ 8038 w 487162"/>
              <a:gd name="connsiteY44" fmla="*/ 513398 h 523875"/>
              <a:gd name="connsiteX45" fmla="*/ 8038 w 487162"/>
              <a:gd name="connsiteY45" fmla="*/ 513398 h 523875"/>
              <a:gd name="connsiteX46" fmla="*/ 254641 w 487162"/>
              <a:gd name="connsiteY46" fmla="*/ 404146 h 523875"/>
              <a:gd name="connsiteX47" fmla="*/ 251783 w 487162"/>
              <a:gd name="connsiteY47" fmla="*/ 405956 h 523875"/>
              <a:gd name="connsiteX48" fmla="*/ 246259 w 487162"/>
              <a:gd name="connsiteY48" fmla="*/ 409670 h 523875"/>
              <a:gd name="connsiteX49" fmla="*/ 54425 w 487162"/>
              <a:gd name="connsiteY49" fmla="*/ 416243 h 523875"/>
              <a:gd name="connsiteX50" fmla="*/ 50615 w 487162"/>
              <a:gd name="connsiteY50" fmla="*/ 414719 h 523875"/>
              <a:gd name="connsiteX51" fmla="*/ 21754 w 487162"/>
              <a:gd name="connsiteY51" fmla="*/ 475774 h 523875"/>
              <a:gd name="connsiteX52" fmla="*/ 20897 w 487162"/>
              <a:gd name="connsiteY52" fmla="*/ 477679 h 523875"/>
              <a:gd name="connsiteX53" fmla="*/ 20802 w 487162"/>
              <a:gd name="connsiteY53" fmla="*/ 498158 h 523875"/>
              <a:gd name="connsiteX54" fmla="*/ 27945 w 487162"/>
              <a:gd name="connsiteY54" fmla="*/ 504444 h 523875"/>
              <a:gd name="connsiteX55" fmla="*/ 29184 w 487162"/>
              <a:gd name="connsiteY55" fmla="*/ 504635 h 523875"/>
              <a:gd name="connsiteX56" fmla="*/ 30327 w 487162"/>
              <a:gd name="connsiteY56" fmla="*/ 504730 h 523875"/>
              <a:gd name="connsiteX57" fmla="*/ 456570 w 487162"/>
              <a:gd name="connsiteY57" fmla="*/ 504730 h 523875"/>
              <a:gd name="connsiteX58" fmla="*/ 457714 w 487162"/>
              <a:gd name="connsiteY58" fmla="*/ 504635 h 523875"/>
              <a:gd name="connsiteX59" fmla="*/ 466095 w 487162"/>
              <a:gd name="connsiteY59" fmla="*/ 498062 h 523875"/>
              <a:gd name="connsiteX60" fmla="*/ 466667 w 487162"/>
              <a:gd name="connsiteY60" fmla="*/ 479584 h 523875"/>
              <a:gd name="connsiteX61" fmla="*/ 466000 w 487162"/>
              <a:gd name="connsiteY61" fmla="*/ 477584 h 523875"/>
              <a:gd name="connsiteX62" fmla="*/ 465143 w 487162"/>
              <a:gd name="connsiteY62" fmla="*/ 475679 h 523875"/>
              <a:gd name="connsiteX63" fmla="*/ 423519 w 487162"/>
              <a:gd name="connsiteY63" fmla="*/ 387477 h 523875"/>
              <a:gd name="connsiteX64" fmla="*/ 254641 w 487162"/>
              <a:gd name="connsiteY64" fmla="*/ 404146 h 523875"/>
              <a:gd name="connsiteX65" fmla="*/ 305504 w 487162"/>
              <a:gd name="connsiteY65" fmla="*/ 257175 h 523875"/>
              <a:gd name="connsiteX66" fmla="*/ 272167 w 487162"/>
              <a:gd name="connsiteY66" fmla="*/ 290513 h 523875"/>
              <a:gd name="connsiteX67" fmla="*/ 305504 w 487162"/>
              <a:gd name="connsiteY67" fmla="*/ 323850 h 523875"/>
              <a:gd name="connsiteX68" fmla="*/ 338842 w 487162"/>
              <a:gd name="connsiteY68" fmla="*/ 290513 h 523875"/>
              <a:gd name="connsiteX69" fmla="*/ 305504 w 487162"/>
              <a:gd name="connsiteY69" fmla="*/ 257175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87162" h="523875">
                <a:moveTo>
                  <a:pt x="8038" y="513398"/>
                </a:moveTo>
                <a:lnTo>
                  <a:pt x="7467" y="512731"/>
                </a:lnTo>
                <a:lnTo>
                  <a:pt x="7467" y="512731"/>
                </a:lnTo>
                <a:lnTo>
                  <a:pt x="6991" y="512064"/>
                </a:lnTo>
                <a:cubicBezTo>
                  <a:pt x="6228" y="511112"/>
                  <a:pt x="5657" y="510064"/>
                  <a:pt x="4990" y="509016"/>
                </a:cubicBezTo>
                <a:lnTo>
                  <a:pt x="4990" y="509016"/>
                </a:lnTo>
                <a:lnTo>
                  <a:pt x="4514" y="508254"/>
                </a:lnTo>
                <a:lnTo>
                  <a:pt x="3752" y="506730"/>
                </a:lnTo>
                <a:lnTo>
                  <a:pt x="3085" y="505111"/>
                </a:lnTo>
                <a:lnTo>
                  <a:pt x="2990" y="504920"/>
                </a:lnTo>
                <a:lnTo>
                  <a:pt x="2895" y="504635"/>
                </a:lnTo>
                <a:lnTo>
                  <a:pt x="2895" y="504444"/>
                </a:lnTo>
                <a:lnTo>
                  <a:pt x="2228" y="502444"/>
                </a:lnTo>
                <a:cubicBezTo>
                  <a:pt x="2133" y="501968"/>
                  <a:pt x="1942" y="501587"/>
                  <a:pt x="1847" y="501110"/>
                </a:cubicBezTo>
                <a:cubicBezTo>
                  <a:pt x="1657" y="500444"/>
                  <a:pt x="1466" y="499872"/>
                  <a:pt x="1371" y="499205"/>
                </a:cubicBezTo>
                <a:cubicBezTo>
                  <a:pt x="990" y="497776"/>
                  <a:pt x="799" y="496348"/>
                  <a:pt x="514" y="494919"/>
                </a:cubicBezTo>
                <a:lnTo>
                  <a:pt x="228" y="492443"/>
                </a:lnTo>
                <a:cubicBezTo>
                  <a:pt x="37" y="490252"/>
                  <a:pt x="-58" y="488061"/>
                  <a:pt x="37" y="485870"/>
                </a:cubicBezTo>
                <a:cubicBezTo>
                  <a:pt x="323" y="479584"/>
                  <a:pt x="1847" y="473393"/>
                  <a:pt x="4609" y="467582"/>
                </a:cubicBezTo>
                <a:lnTo>
                  <a:pt x="154247" y="150876"/>
                </a:lnTo>
                <a:cubicBezTo>
                  <a:pt x="156628" y="145828"/>
                  <a:pt x="157867" y="140208"/>
                  <a:pt x="157867" y="134588"/>
                </a:cubicBezTo>
                <a:lnTo>
                  <a:pt x="157867" y="19050"/>
                </a:lnTo>
                <a:lnTo>
                  <a:pt x="119767" y="19050"/>
                </a:lnTo>
                <a:lnTo>
                  <a:pt x="119767" y="0"/>
                </a:lnTo>
                <a:lnTo>
                  <a:pt x="367417" y="0"/>
                </a:lnTo>
                <a:lnTo>
                  <a:pt x="367417" y="19050"/>
                </a:lnTo>
                <a:lnTo>
                  <a:pt x="329317" y="19050"/>
                </a:lnTo>
                <a:lnTo>
                  <a:pt x="329317" y="134684"/>
                </a:lnTo>
                <a:cubicBezTo>
                  <a:pt x="329317" y="140303"/>
                  <a:pt x="330555" y="145828"/>
                  <a:pt x="332936" y="150971"/>
                </a:cubicBezTo>
                <a:lnTo>
                  <a:pt x="482574" y="467678"/>
                </a:lnTo>
                <a:cubicBezTo>
                  <a:pt x="488098" y="479393"/>
                  <a:pt x="488670" y="492824"/>
                  <a:pt x="484098" y="504920"/>
                </a:cubicBezTo>
                <a:lnTo>
                  <a:pt x="484003" y="505111"/>
                </a:lnTo>
                <a:lnTo>
                  <a:pt x="483431" y="506540"/>
                </a:lnTo>
                <a:cubicBezTo>
                  <a:pt x="478954" y="516446"/>
                  <a:pt x="469429" y="523113"/>
                  <a:pt x="458571" y="523780"/>
                </a:cubicBezTo>
                <a:lnTo>
                  <a:pt x="456666" y="523875"/>
                </a:lnTo>
                <a:lnTo>
                  <a:pt x="30422" y="523875"/>
                </a:lnTo>
                <a:lnTo>
                  <a:pt x="28612" y="523780"/>
                </a:lnTo>
                <a:cubicBezTo>
                  <a:pt x="27755" y="523685"/>
                  <a:pt x="26993" y="523685"/>
                  <a:pt x="26136" y="523494"/>
                </a:cubicBezTo>
                <a:cubicBezTo>
                  <a:pt x="24802" y="523304"/>
                  <a:pt x="23564" y="523018"/>
                  <a:pt x="22326" y="522637"/>
                </a:cubicBezTo>
                <a:lnTo>
                  <a:pt x="22326" y="522637"/>
                </a:lnTo>
                <a:cubicBezTo>
                  <a:pt x="20421" y="522065"/>
                  <a:pt x="18516" y="521303"/>
                  <a:pt x="16801" y="520351"/>
                </a:cubicBezTo>
                <a:lnTo>
                  <a:pt x="15373" y="519589"/>
                </a:lnTo>
                <a:cubicBezTo>
                  <a:pt x="15087" y="519398"/>
                  <a:pt x="14801" y="519208"/>
                  <a:pt x="14420" y="519017"/>
                </a:cubicBezTo>
                <a:cubicBezTo>
                  <a:pt x="12610" y="517874"/>
                  <a:pt x="10896" y="516446"/>
                  <a:pt x="9467" y="514922"/>
                </a:cubicBezTo>
                <a:lnTo>
                  <a:pt x="8038" y="513398"/>
                </a:lnTo>
                <a:lnTo>
                  <a:pt x="8038" y="513398"/>
                </a:lnTo>
                <a:close/>
                <a:moveTo>
                  <a:pt x="254641" y="404146"/>
                </a:moveTo>
                <a:lnTo>
                  <a:pt x="251783" y="405956"/>
                </a:lnTo>
                <a:lnTo>
                  <a:pt x="246259" y="409670"/>
                </a:lnTo>
                <a:cubicBezTo>
                  <a:pt x="199015" y="441008"/>
                  <a:pt x="119481" y="441960"/>
                  <a:pt x="54425" y="416243"/>
                </a:cubicBezTo>
                <a:lnTo>
                  <a:pt x="50615" y="414719"/>
                </a:lnTo>
                <a:lnTo>
                  <a:pt x="21754" y="475774"/>
                </a:lnTo>
                <a:lnTo>
                  <a:pt x="20897" y="477679"/>
                </a:lnTo>
                <a:cubicBezTo>
                  <a:pt x="18420" y="484251"/>
                  <a:pt x="18325" y="491490"/>
                  <a:pt x="20802" y="498158"/>
                </a:cubicBezTo>
                <a:cubicBezTo>
                  <a:pt x="22040" y="501396"/>
                  <a:pt x="24707" y="503682"/>
                  <a:pt x="27945" y="504444"/>
                </a:cubicBezTo>
                <a:lnTo>
                  <a:pt x="29184" y="504635"/>
                </a:lnTo>
                <a:lnTo>
                  <a:pt x="30327" y="504730"/>
                </a:lnTo>
                <a:lnTo>
                  <a:pt x="456570" y="504730"/>
                </a:lnTo>
                <a:lnTo>
                  <a:pt x="457714" y="504635"/>
                </a:lnTo>
                <a:cubicBezTo>
                  <a:pt x="461524" y="504254"/>
                  <a:pt x="464762" y="501682"/>
                  <a:pt x="466095" y="498062"/>
                </a:cubicBezTo>
                <a:cubicBezTo>
                  <a:pt x="468382" y="492157"/>
                  <a:pt x="468572" y="485585"/>
                  <a:pt x="466667" y="479584"/>
                </a:cubicBezTo>
                <a:lnTo>
                  <a:pt x="466000" y="477584"/>
                </a:lnTo>
                <a:lnTo>
                  <a:pt x="465143" y="475679"/>
                </a:lnTo>
                <a:lnTo>
                  <a:pt x="423519" y="387477"/>
                </a:lnTo>
                <a:cubicBezTo>
                  <a:pt x="365416" y="373190"/>
                  <a:pt x="295979" y="378714"/>
                  <a:pt x="254641" y="404146"/>
                </a:cubicBezTo>
                <a:close/>
                <a:moveTo>
                  <a:pt x="305504" y="257175"/>
                </a:moveTo>
                <a:cubicBezTo>
                  <a:pt x="287121" y="257175"/>
                  <a:pt x="272167" y="272129"/>
                  <a:pt x="272167" y="290513"/>
                </a:cubicBezTo>
                <a:cubicBezTo>
                  <a:pt x="272167" y="308896"/>
                  <a:pt x="287121" y="323850"/>
                  <a:pt x="305504" y="323850"/>
                </a:cubicBezTo>
                <a:cubicBezTo>
                  <a:pt x="323887" y="323850"/>
                  <a:pt x="338842" y="308896"/>
                  <a:pt x="338842" y="290513"/>
                </a:cubicBezTo>
                <a:cubicBezTo>
                  <a:pt x="338842" y="272129"/>
                  <a:pt x="323887" y="257175"/>
                  <a:pt x="305504" y="257175"/>
                </a:cubicBezTo>
                <a:close/>
              </a:path>
            </a:pathLst>
          </a:custGeom>
          <a:solidFill>
            <a:schemeClr val="bg1">
              <a:lumMod val="50000"/>
            </a:schemeClr>
          </a:solidFill>
          <a:ln>
            <a:noFill/>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sym typeface="+mn-lt"/>
            </a:endParaRPr>
          </a:p>
        </p:txBody>
      </p:sp>
    </p:spTree>
    <p:custDataLst>
      <p:tags r:id="rId1"/>
    </p:custDataLst>
    <p:extLst>
      <p:ext uri="{BB962C8B-B14F-4D97-AF65-F5344CB8AC3E}">
        <p14:creationId xmlns:p14="http://schemas.microsoft.com/office/powerpoint/2010/main" val="10253298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íŝḻiḋê"/>
        <p:cNvGrpSpPr/>
        <p:nvPr/>
      </p:nvGrpSpPr>
      <p:grpSpPr>
        <a:xfrm>
          <a:off x="0" y="0"/>
          <a:ext cx="0" cy="0"/>
          <a:chOff x="0" y="0"/>
          <a:chExt cx="0" cy="0"/>
        </a:xfrm>
      </p:grpSpPr>
      <p:sp>
        <p:nvSpPr>
          <p:cNvPr id="5" name="îşļídè"/>
          <p:cNvSpPr>
            <a:spLocks noGrp="1"/>
          </p:cNvSpPr>
          <p:nvPr>
            <p:ph type="title"/>
          </p:nvPr>
        </p:nvSpPr>
        <p:spPr>
          <a:xfrm>
            <a:off x="2400300" y="3429000"/>
            <a:ext cx="7391400" cy="895350"/>
          </a:xfrm>
        </p:spPr>
        <p:txBody>
          <a:bodyPr>
            <a:normAutofit/>
          </a:bodyPr>
          <a:lstStyle/>
          <a:p>
            <a:pPr algn="ctr" fontAlgn="base">
              <a:spcBef>
                <a:spcPct val="0"/>
              </a:spcBef>
              <a:spcAft>
                <a:spcPct val="0"/>
              </a:spcAft>
              <a:tabLst>
                <a:tab pos="227965" algn="l"/>
              </a:tabLst>
              <a:defRPr/>
            </a:pPr>
            <a:r>
              <a:rPr lang="en-US" altLang="zh-CN" sz="4000" dirty="0">
                <a:latin typeface="+mn-lt"/>
                <a:sym typeface="+mn-lt"/>
              </a:rPr>
              <a:t>System Model</a:t>
            </a:r>
            <a:endParaRPr lang="zh-CN" altLang="en-US" sz="4000" b="1" i="0" dirty="0">
              <a:latin typeface="+mn-lt"/>
              <a:sym typeface="+mn-lt"/>
            </a:endParaRPr>
          </a:p>
        </p:txBody>
      </p:sp>
      <p:sp>
        <p:nvSpPr>
          <p:cNvPr id="9" name="ïsliḋé">
            <a:extLst>
              <a:ext uri="{FF2B5EF4-FFF2-40B4-BE49-F238E27FC236}">
                <a16:creationId xmlns:a16="http://schemas.microsoft.com/office/drawing/2014/main" id="{04F69230-F3A6-4586-9371-A858F4763E9F}"/>
              </a:ext>
            </a:extLst>
          </p:cNvPr>
          <p:cNvSpPr txBox="1"/>
          <p:nvPr/>
        </p:nvSpPr>
        <p:spPr>
          <a:xfrm>
            <a:off x="5623932" y="1816100"/>
            <a:ext cx="944136" cy="778380"/>
          </a:xfrm>
          <a:prstGeom prst="rect">
            <a:avLst/>
          </a:prstGeom>
          <a:noFill/>
          <a:ln w="117475">
            <a:noFill/>
          </a:ln>
        </p:spPr>
        <p:txBody>
          <a:bodyPr wrap="none" rtlCol="0">
            <a:prstTxWarp prst="textPlain">
              <a:avLst/>
            </a:prstTxWarp>
            <a:spAutoFit/>
          </a:bodyPr>
          <a:lstStyle/>
          <a:p>
            <a:r>
              <a:rPr lang="en-US" altLang="zh-CN" b="1" spc="-150" dirty="0">
                <a:solidFill>
                  <a:schemeClr val="bg1"/>
                </a:solidFill>
                <a:cs typeface="Arial" panose="020B0604020202020204" pitchFamily="34" charset="0"/>
                <a:sym typeface="+mn-lt"/>
              </a:rPr>
              <a:t>0</a:t>
            </a:r>
            <a:r>
              <a:rPr lang="en-US" altLang="zh-CN" sz="100" b="1" spc="-150" dirty="0">
                <a:solidFill>
                  <a:schemeClr val="bg1"/>
                </a:solidFill>
                <a:cs typeface="Arial" panose="020B0604020202020204" pitchFamily="34" charset="0"/>
                <a:sym typeface="+mn-lt"/>
              </a:rPr>
              <a:t> </a:t>
            </a:r>
            <a:r>
              <a:rPr lang="en-US" altLang="zh-CN" b="1" spc="-150" dirty="0">
                <a:solidFill>
                  <a:schemeClr val="bg1"/>
                </a:solidFill>
                <a:cs typeface="Arial" panose="020B0604020202020204" pitchFamily="34" charset="0"/>
                <a:sym typeface="+mn-lt"/>
              </a:rPr>
              <a:t>3</a:t>
            </a:r>
            <a:endParaRPr lang="zh-CN" altLang="en-US" b="1" spc="-150" dirty="0">
              <a:solidFill>
                <a:schemeClr val="bg1"/>
              </a:solidFill>
              <a:cs typeface="Arial" panose="020B0604020202020204" pitchFamily="34" charset="0"/>
              <a:sym typeface="+mn-lt"/>
            </a:endParaRPr>
          </a:p>
        </p:txBody>
      </p:sp>
    </p:spTree>
    <p:custDataLst>
      <p:tags r:id="rId1"/>
    </p:custDataLst>
    <p:extLst>
      <p:ext uri="{BB962C8B-B14F-4D97-AF65-F5344CB8AC3E}">
        <p14:creationId xmlns:p14="http://schemas.microsoft.com/office/powerpoint/2010/main" val="29829993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ïş1îḋê"/>
        <p:cNvGrpSpPr/>
        <p:nvPr/>
      </p:nvGrpSpPr>
      <p:grpSpPr>
        <a:xfrm>
          <a:off x="0" y="0"/>
          <a:ext cx="0" cy="0"/>
          <a:chOff x="0" y="0"/>
          <a:chExt cx="0" cy="0"/>
        </a:xfrm>
      </p:grpSpPr>
      <p:sp>
        <p:nvSpPr>
          <p:cNvPr id="2" name="îṧ1îḍè">
            <a:extLst>
              <a:ext uri="{FF2B5EF4-FFF2-40B4-BE49-F238E27FC236}">
                <a16:creationId xmlns:a16="http://schemas.microsoft.com/office/drawing/2014/main" id="{0B0F8F9C-6356-45A1-861F-B903301B7DC0}"/>
              </a:ext>
            </a:extLst>
          </p:cNvPr>
          <p:cNvSpPr>
            <a:spLocks noGrp="1"/>
          </p:cNvSpPr>
          <p:nvPr>
            <p:ph type="title"/>
          </p:nvPr>
        </p:nvSpPr>
        <p:spPr/>
        <p:txBody>
          <a:bodyPr/>
          <a:lstStyle/>
          <a:p>
            <a:r>
              <a:rPr lang="en-US" altLang="zh-CN" dirty="0">
                <a:effectLst/>
                <a:latin typeface="Arial" panose="020B0604020202020204" pitchFamily="34" charset="0"/>
              </a:rPr>
              <a:t>Zero trust principles</a:t>
            </a:r>
            <a:endParaRPr lang="zh-CN" altLang="en-US" dirty="0">
              <a:latin typeface="+mn-lt"/>
              <a:sym typeface="+mn-lt"/>
            </a:endParaRPr>
          </a:p>
        </p:txBody>
      </p:sp>
      <p:sp>
        <p:nvSpPr>
          <p:cNvPr id="4" name="ïṥľïḍè">
            <a:extLst>
              <a:ext uri="{FF2B5EF4-FFF2-40B4-BE49-F238E27FC236}">
                <a16:creationId xmlns:a16="http://schemas.microsoft.com/office/drawing/2014/main" id="{5E0B2F46-10C3-4182-93B1-F12870E5C1F7}"/>
              </a:ext>
            </a:extLst>
          </p:cNvPr>
          <p:cNvSpPr>
            <a:spLocks noGrp="1"/>
          </p:cNvSpPr>
          <p:nvPr>
            <p:ph type="sldNum" sz="quarter" idx="12"/>
          </p:nvPr>
        </p:nvSpPr>
        <p:spPr/>
        <p:txBody>
          <a:bodyPr/>
          <a:lstStyle/>
          <a:p>
            <a:fld id="{5DD3DB80-B894-403A-B48E-6FDC1A72010E}" type="slidenum">
              <a:rPr lang="zh-CN" altLang="en-US" smtClean="0">
                <a:sym typeface="+mn-lt"/>
              </a:rPr>
              <a:pPr/>
              <a:t>9</a:t>
            </a:fld>
            <a:endParaRPr lang="zh-CN" altLang="en-US">
              <a:sym typeface="+mn-lt"/>
            </a:endParaRPr>
          </a:p>
        </p:txBody>
      </p:sp>
      <p:grpSp>
        <p:nvGrpSpPr>
          <p:cNvPr id="83" name="ïśliḍè"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5C505E21-D398-4ADD-8901-B99228E68FB8}"/>
              </a:ext>
            </a:extLst>
          </p:cNvPr>
          <p:cNvGrpSpPr>
            <a:grpSpLocks noChangeAspect="1"/>
          </p:cNvGrpSpPr>
          <p:nvPr/>
        </p:nvGrpSpPr>
        <p:grpSpPr>
          <a:xfrm>
            <a:off x="575248" y="1762908"/>
            <a:ext cx="10943651" cy="4406800"/>
            <a:chOff x="575248" y="1762908"/>
            <a:chExt cx="10943651" cy="4406800"/>
          </a:xfrm>
        </p:grpSpPr>
        <p:sp>
          <p:nvSpPr>
            <p:cNvPr id="104" name="íṩľïdê">
              <a:extLst>
                <a:ext uri="{FF2B5EF4-FFF2-40B4-BE49-F238E27FC236}">
                  <a16:creationId xmlns:a16="http://schemas.microsoft.com/office/drawing/2014/main" id="{AC321F9B-F99D-44D6-95EE-4CF3F8A760F8}"/>
                </a:ext>
              </a:extLst>
            </p:cNvPr>
            <p:cNvSpPr/>
            <p:nvPr/>
          </p:nvSpPr>
          <p:spPr bwMode="auto">
            <a:xfrm>
              <a:off x="575248" y="3793416"/>
              <a:ext cx="3417504" cy="133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fontAlgn="base">
                <a:buFont typeface="Arial" panose="020B0604020202020204" pitchFamily="34" charset="0"/>
                <a:buChar char="•"/>
              </a:pPr>
              <a:endParaRPr lang="zh-CN" altLang="en-US" sz="1100" b="1" i="0" dirty="0">
                <a:solidFill>
                  <a:srgbClr val="4D4C4C"/>
                </a:solidFill>
                <a:effectLst/>
                <a:sym typeface="+mn-lt"/>
              </a:endParaRPr>
            </a:p>
          </p:txBody>
        </p:sp>
        <p:sp>
          <p:nvSpPr>
            <p:cNvPr id="100" name="îśḷîďê">
              <a:extLst>
                <a:ext uri="{FF2B5EF4-FFF2-40B4-BE49-F238E27FC236}">
                  <a16:creationId xmlns:a16="http://schemas.microsoft.com/office/drawing/2014/main" id="{AC321F9B-F99D-44D6-95EE-4CF3F8A760F8}"/>
                </a:ext>
              </a:extLst>
            </p:cNvPr>
            <p:cNvSpPr/>
            <p:nvPr/>
          </p:nvSpPr>
          <p:spPr bwMode="auto">
            <a:xfrm flipH="1">
              <a:off x="8101395" y="3226469"/>
              <a:ext cx="3417504" cy="1704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fontAlgn="base"/>
              <a:endParaRPr lang="zh-CN" altLang="en-US" sz="1100" b="1" i="0" dirty="0">
                <a:solidFill>
                  <a:srgbClr val="4D4C4C"/>
                </a:solidFill>
                <a:effectLst/>
                <a:sym typeface="+mn-lt"/>
              </a:endParaRPr>
            </a:p>
          </p:txBody>
        </p:sp>
        <p:sp>
          <p:nvSpPr>
            <p:cNvPr id="95" name="ïsľidè">
              <a:extLst>
                <a:ext uri="{FF2B5EF4-FFF2-40B4-BE49-F238E27FC236}">
                  <a16:creationId xmlns:a16="http://schemas.microsoft.com/office/drawing/2014/main" id="{AC321F9B-F99D-44D6-95EE-4CF3F8A760F8}"/>
                </a:ext>
              </a:extLst>
            </p:cNvPr>
            <p:cNvSpPr/>
            <p:nvPr/>
          </p:nvSpPr>
          <p:spPr bwMode="auto">
            <a:xfrm>
              <a:off x="1729078" y="4931225"/>
              <a:ext cx="3417504" cy="12384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40000"/>
                </a:lnSpc>
              </a:pPr>
              <a:endParaRPr lang="en-US" altLang="zh-CN" sz="1100" dirty="0">
                <a:sym typeface="+mn-lt"/>
              </a:endParaRPr>
            </a:p>
          </p:txBody>
        </p:sp>
        <p:sp>
          <p:nvSpPr>
            <p:cNvPr id="91" name="iṡ1ïďè">
              <a:extLst>
                <a:ext uri="{FF2B5EF4-FFF2-40B4-BE49-F238E27FC236}">
                  <a16:creationId xmlns:a16="http://schemas.microsoft.com/office/drawing/2014/main" id="{E3F20857-1777-444C-9D35-385662A77B8B}"/>
                </a:ext>
              </a:extLst>
            </p:cNvPr>
            <p:cNvSpPr/>
            <p:nvPr/>
          </p:nvSpPr>
          <p:spPr bwMode="auto">
            <a:xfrm>
              <a:off x="5904836" y="3241323"/>
              <a:ext cx="382328" cy="304446"/>
            </a:xfrm>
            <a:custGeom>
              <a:avLst/>
              <a:gdLst>
                <a:gd name="connsiteX0" fmla="*/ 485775 w 514350"/>
                <a:gd name="connsiteY0" fmla="*/ 0 h 409575"/>
                <a:gd name="connsiteX1" fmla="*/ 514350 w 514350"/>
                <a:gd name="connsiteY1" fmla="*/ 28575 h 409575"/>
                <a:gd name="connsiteX2" fmla="*/ 514350 w 514350"/>
                <a:gd name="connsiteY2" fmla="*/ 323850 h 409575"/>
                <a:gd name="connsiteX3" fmla="*/ 485775 w 514350"/>
                <a:gd name="connsiteY3" fmla="*/ 352425 h 409575"/>
                <a:gd name="connsiteX4" fmla="*/ 191167 w 514350"/>
                <a:gd name="connsiteY4" fmla="*/ 352425 h 409575"/>
                <a:gd name="connsiteX5" fmla="*/ 114395 w 514350"/>
                <a:gd name="connsiteY5" fmla="*/ 409575 h 409575"/>
                <a:gd name="connsiteX6" fmla="*/ 114395 w 514350"/>
                <a:gd name="connsiteY6" fmla="*/ 352425 h 409575"/>
                <a:gd name="connsiteX7" fmla="*/ 28575 w 514350"/>
                <a:gd name="connsiteY7" fmla="*/ 352425 h 409575"/>
                <a:gd name="connsiteX8" fmla="*/ 0 w 514350"/>
                <a:gd name="connsiteY8" fmla="*/ 323850 h 409575"/>
                <a:gd name="connsiteX9" fmla="*/ 0 w 514350"/>
                <a:gd name="connsiteY9" fmla="*/ 28575 h 409575"/>
                <a:gd name="connsiteX10" fmla="*/ 28575 w 514350"/>
                <a:gd name="connsiteY10" fmla="*/ 0 h 409575"/>
                <a:gd name="connsiteX11" fmla="*/ 485775 w 514350"/>
                <a:gd name="connsiteY11" fmla="*/ 0 h 409575"/>
                <a:gd name="connsiteX12" fmla="*/ 123825 w 514350"/>
                <a:gd name="connsiteY12" fmla="*/ 142875 h 409575"/>
                <a:gd name="connsiteX13" fmla="*/ 90488 w 514350"/>
                <a:gd name="connsiteY13" fmla="*/ 176213 h 409575"/>
                <a:gd name="connsiteX14" fmla="*/ 123825 w 514350"/>
                <a:gd name="connsiteY14" fmla="*/ 209550 h 409575"/>
                <a:gd name="connsiteX15" fmla="*/ 157163 w 514350"/>
                <a:gd name="connsiteY15" fmla="*/ 176213 h 409575"/>
                <a:gd name="connsiteX16" fmla="*/ 123825 w 514350"/>
                <a:gd name="connsiteY16" fmla="*/ 142875 h 409575"/>
                <a:gd name="connsiteX17" fmla="*/ 257175 w 514350"/>
                <a:gd name="connsiteY17" fmla="*/ 142875 h 409575"/>
                <a:gd name="connsiteX18" fmla="*/ 223838 w 514350"/>
                <a:gd name="connsiteY18" fmla="*/ 176213 h 409575"/>
                <a:gd name="connsiteX19" fmla="*/ 257175 w 514350"/>
                <a:gd name="connsiteY19" fmla="*/ 209550 h 409575"/>
                <a:gd name="connsiteX20" fmla="*/ 290513 w 514350"/>
                <a:gd name="connsiteY20" fmla="*/ 176213 h 409575"/>
                <a:gd name="connsiteX21" fmla="*/ 257175 w 514350"/>
                <a:gd name="connsiteY21" fmla="*/ 142875 h 409575"/>
                <a:gd name="connsiteX22" fmla="*/ 390525 w 514350"/>
                <a:gd name="connsiteY22" fmla="*/ 142875 h 409575"/>
                <a:gd name="connsiteX23" fmla="*/ 357188 w 514350"/>
                <a:gd name="connsiteY23" fmla="*/ 176213 h 409575"/>
                <a:gd name="connsiteX24" fmla="*/ 390525 w 514350"/>
                <a:gd name="connsiteY24" fmla="*/ 209550 h 409575"/>
                <a:gd name="connsiteX25" fmla="*/ 423863 w 514350"/>
                <a:gd name="connsiteY25" fmla="*/ 176213 h 409575"/>
                <a:gd name="connsiteX26" fmla="*/ 390525 w 514350"/>
                <a:gd name="connsiteY26" fmla="*/ 142875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14350" h="409575">
                  <a:moveTo>
                    <a:pt x="485775" y="0"/>
                  </a:moveTo>
                  <a:cubicBezTo>
                    <a:pt x="501586" y="0"/>
                    <a:pt x="514350" y="12764"/>
                    <a:pt x="514350" y="28575"/>
                  </a:cubicBezTo>
                  <a:lnTo>
                    <a:pt x="514350" y="323850"/>
                  </a:lnTo>
                  <a:cubicBezTo>
                    <a:pt x="514350" y="339662"/>
                    <a:pt x="501586" y="352425"/>
                    <a:pt x="485775" y="352425"/>
                  </a:cubicBezTo>
                  <a:lnTo>
                    <a:pt x="191167" y="352425"/>
                  </a:lnTo>
                  <a:lnTo>
                    <a:pt x="114395" y="409575"/>
                  </a:lnTo>
                  <a:lnTo>
                    <a:pt x="114395" y="352425"/>
                  </a:lnTo>
                  <a:lnTo>
                    <a:pt x="28575" y="352425"/>
                  </a:lnTo>
                  <a:cubicBezTo>
                    <a:pt x="12764" y="352425"/>
                    <a:pt x="0" y="339662"/>
                    <a:pt x="0" y="323850"/>
                  </a:cubicBezTo>
                  <a:lnTo>
                    <a:pt x="0" y="28575"/>
                  </a:lnTo>
                  <a:cubicBezTo>
                    <a:pt x="0" y="12764"/>
                    <a:pt x="12764" y="0"/>
                    <a:pt x="28575" y="0"/>
                  </a:cubicBezTo>
                  <a:lnTo>
                    <a:pt x="485775" y="0"/>
                  </a:lnTo>
                  <a:close/>
                  <a:moveTo>
                    <a:pt x="123825" y="142875"/>
                  </a:moveTo>
                  <a:cubicBezTo>
                    <a:pt x="105442" y="142875"/>
                    <a:pt x="90488" y="157829"/>
                    <a:pt x="90488" y="176213"/>
                  </a:cubicBezTo>
                  <a:cubicBezTo>
                    <a:pt x="90488" y="194596"/>
                    <a:pt x="105442" y="209550"/>
                    <a:pt x="123825" y="209550"/>
                  </a:cubicBezTo>
                  <a:cubicBezTo>
                    <a:pt x="142208" y="209550"/>
                    <a:pt x="157163" y="194596"/>
                    <a:pt x="157163" y="176213"/>
                  </a:cubicBezTo>
                  <a:cubicBezTo>
                    <a:pt x="157163" y="157829"/>
                    <a:pt x="142208" y="142875"/>
                    <a:pt x="123825" y="142875"/>
                  </a:cubicBezTo>
                  <a:close/>
                  <a:moveTo>
                    <a:pt x="257175" y="142875"/>
                  </a:moveTo>
                  <a:cubicBezTo>
                    <a:pt x="238792" y="142875"/>
                    <a:pt x="223838" y="157829"/>
                    <a:pt x="223838" y="176213"/>
                  </a:cubicBezTo>
                  <a:cubicBezTo>
                    <a:pt x="223838" y="194596"/>
                    <a:pt x="238792" y="209550"/>
                    <a:pt x="257175" y="209550"/>
                  </a:cubicBezTo>
                  <a:cubicBezTo>
                    <a:pt x="275558" y="209550"/>
                    <a:pt x="290513" y="194596"/>
                    <a:pt x="290513" y="176213"/>
                  </a:cubicBezTo>
                  <a:cubicBezTo>
                    <a:pt x="290513" y="157829"/>
                    <a:pt x="275558" y="142875"/>
                    <a:pt x="257175" y="142875"/>
                  </a:cubicBezTo>
                  <a:close/>
                  <a:moveTo>
                    <a:pt x="390525" y="142875"/>
                  </a:moveTo>
                  <a:cubicBezTo>
                    <a:pt x="372142" y="142875"/>
                    <a:pt x="357188" y="157829"/>
                    <a:pt x="357188" y="176213"/>
                  </a:cubicBezTo>
                  <a:cubicBezTo>
                    <a:pt x="357188" y="194596"/>
                    <a:pt x="372142" y="209550"/>
                    <a:pt x="390525" y="209550"/>
                  </a:cubicBezTo>
                  <a:cubicBezTo>
                    <a:pt x="408908" y="209550"/>
                    <a:pt x="423863" y="194596"/>
                    <a:pt x="423863" y="176213"/>
                  </a:cubicBezTo>
                  <a:cubicBezTo>
                    <a:pt x="423863" y="157829"/>
                    <a:pt x="408908" y="142875"/>
                    <a:pt x="390525" y="142875"/>
                  </a:cubicBezTo>
                  <a:close/>
                </a:path>
              </a:pathLst>
            </a:custGeom>
            <a:solidFill>
              <a:schemeClr val="bg1"/>
            </a:solidFill>
            <a:ln>
              <a:noFill/>
            </a:ln>
          </p:spPr>
          <p:txBody>
            <a:bodyPr wrap="square" lIns="91440" tIns="45720" rIns="91440" bIns="45720" anchor="ctr">
              <a:normAutofit fontScale="92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sym typeface="+mn-lt"/>
              </a:endParaRPr>
            </a:p>
          </p:txBody>
        </p:sp>
        <p:sp>
          <p:nvSpPr>
            <p:cNvPr id="92" name="iŝlîḑe">
              <a:extLst>
                <a:ext uri="{FF2B5EF4-FFF2-40B4-BE49-F238E27FC236}">
                  <a16:creationId xmlns:a16="http://schemas.microsoft.com/office/drawing/2014/main" id="{490AFCD5-9CF9-478D-B619-714B3BD11B60}"/>
                </a:ext>
              </a:extLst>
            </p:cNvPr>
            <p:cNvSpPr/>
            <p:nvPr/>
          </p:nvSpPr>
          <p:spPr bwMode="auto">
            <a:xfrm>
              <a:off x="5921352" y="2496519"/>
              <a:ext cx="349295" cy="382882"/>
            </a:xfrm>
            <a:custGeom>
              <a:avLst/>
              <a:gdLst>
                <a:gd name="connsiteX0" fmla="*/ 247650 w 495300"/>
                <a:gd name="connsiteY0" fmla="*/ 0 h 542925"/>
                <a:gd name="connsiteX1" fmla="*/ 495300 w 495300"/>
                <a:gd name="connsiteY1" fmla="*/ 247650 h 542925"/>
                <a:gd name="connsiteX2" fmla="*/ 322707 w 495300"/>
                <a:gd name="connsiteY2" fmla="*/ 483775 h 542925"/>
                <a:gd name="connsiteX3" fmla="*/ 345853 w 495300"/>
                <a:gd name="connsiteY3" fmla="*/ 523875 h 542925"/>
                <a:gd name="connsiteX4" fmla="*/ 419100 w 495300"/>
                <a:gd name="connsiteY4" fmla="*/ 523875 h 542925"/>
                <a:gd name="connsiteX5" fmla="*/ 419100 w 495300"/>
                <a:gd name="connsiteY5" fmla="*/ 542925 h 542925"/>
                <a:gd name="connsiteX6" fmla="*/ 76200 w 495300"/>
                <a:gd name="connsiteY6" fmla="*/ 542925 h 542925"/>
                <a:gd name="connsiteX7" fmla="*/ 76200 w 495300"/>
                <a:gd name="connsiteY7" fmla="*/ 523875 h 542925"/>
                <a:gd name="connsiteX8" fmla="*/ 149447 w 495300"/>
                <a:gd name="connsiteY8" fmla="*/ 523875 h 542925"/>
                <a:gd name="connsiteX9" fmla="*/ 172593 w 495300"/>
                <a:gd name="connsiteY9" fmla="*/ 483775 h 542925"/>
                <a:gd name="connsiteX10" fmla="*/ 0 w 495300"/>
                <a:gd name="connsiteY10" fmla="*/ 247650 h 542925"/>
                <a:gd name="connsiteX11" fmla="*/ 247650 w 495300"/>
                <a:gd name="connsiteY11" fmla="*/ 0 h 542925"/>
                <a:gd name="connsiteX12" fmla="*/ 191643 w 495300"/>
                <a:gd name="connsiteY12" fmla="*/ 488918 h 542925"/>
                <a:gd name="connsiteX13" fmla="*/ 171450 w 495300"/>
                <a:gd name="connsiteY13" fmla="*/ 523875 h 542925"/>
                <a:gd name="connsiteX14" fmla="*/ 323850 w 495300"/>
                <a:gd name="connsiteY14" fmla="*/ 523875 h 542925"/>
                <a:gd name="connsiteX15" fmla="*/ 303657 w 495300"/>
                <a:gd name="connsiteY15" fmla="*/ 488918 h 542925"/>
                <a:gd name="connsiteX16" fmla="*/ 247650 w 495300"/>
                <a:gd name="connsiteY16" fmla="*/ 495300 h 542925"/>
                <a:gd name="connsiteX17" fmla="*/ 191643 w 495300"/>
                <a:gd name="connsiteY17" fmla="*/ 488918 h 542925"/>
                <a:gd name="connsiteX18" fmla="*/ 247650 w 495300"/>
                <a:gd name="connsiteY18" fmla="*/ 142875 h 542925"/>
                <a:gd name="connsiteX19" fmla="*/ 142875 w 495300"/>
                <a:gd name="connsiteY19" fmla="*/ 247650 h 542925"/>
                <a:gd name="connsiteX20" fmla="*/ 247650 w 495300"/>
                <a:gd name="connsiteY20" fmla="*/ 352425 h 542925"/>
                <a:gd name="connsiteX21" fmla="*/ 352425 w 495300"/>
                <a:gd name="connsiteY21" fmla="*/ 247650 h 542925"/>
                <a:gd name="connsiteX22" fmla="*/ 247650 w 495300"/>
                <a:gd name="connsiteY22" fmla="*/ 142875 h 542925"/>
                <a:gd name="connsiteX23" fmla="*/ 366713 w 495300"/>
                <a:gd name="connsiteY23" fmla="*/ 114300 h 542925"/>
                <a:gd name="connsiteX24" fmla="*/ 352425 w 495300"/>
                <a:gd name="connsiteY24" fmla="*/ 128588 h 542925"/>
                <a:gd name="connsiteX25" fmla="*/ 366713 w 495300"/>
                <a:gd name="connsiteY25" fmla="*/ 142875 h 542925"/>
                <a:gd name="connsiteX26" fmla="*/ 381000 w 495300"/>
                <a:gd name="connsiteY26" fmla="*/ 128588 h 542925"/>
                <a:gd name="connsiteX27" fmla="*/ 366713 w 495300"/>
                <a:gd name="connsiteY27" fmla="*/ 114300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5300" h="542925">
                  <a:moveTo>
                    <a:pt x="247650" y="0"/>
                  </a:moveTo>
                  <a:cubicBezTo>
                    <a:pt x="384429" y="0"/>
                    <a:pt x="495300" y="110871"/>
                    <a:pt x="495300" y="247650"/>
                  </a:cubicBezTo>
                  <a:cubicBezTo>
                    <a:pt x="495300" y="358235"/>
                    <a:pt x="422815" y="451961"/>
                    <a:pt x="322707" y="483775"/>
                  </a:cubicBezTo>
                  <a:lnTo>
                    <a:pt x="345853" y="523875"/>
                  </a:lnTo>
                  <a:lnTo>
                    <a:pt x="419100" y="523875"/>
                  </a:lnTo>
                  <a:lnTo>
                    <a:pt x="419100" y="542925"/>
                  </a:lnTo>
                  <a:lnTo>
                    <a:pt x="76200" y="542925"/>
                  </a:lnTo>
                  <a:lnTo>
                    <a:pt x="76200" y="523875"/>
                  </a:lnTo>
                  <a:lnTo>
                    <a:pt x="149447" y="523875"/>
                  </a:lnTo>
                  <a:lnTo>
                    <a:pt x="172593" y="483775"/>
                  </a:lnTo>
                  <a:cubicBezTo>
                    <a:pt x="72485" y="451961"/>
                    <a:pt x="0" y="358235"/>
                    <a:pt x="0" y="247650"/>
                  </a:cubicBezTo>
                  <a:cubicBezTo>
                    <a:pt x="0" y="110871"/>
                    <a:pt x="110871" y="0"/>
                    <a:pt x="247650" y="0"/>
                  </a:cubicBezTo>
                  <a:close/>
                  <a:moveTo>
                    <a:pt x="191643" y="488918"/>
                  </a:moveTo>
                  <a:lnTo>
                    <a:pt x="171450" y="523875"/>
                  </a:lnTo>
                  <a:lnTo>
                    <a:pt x="323850" y="523875"/>
                  </a:lnTo>
                  <a:lnTo>
                    <a:pt x="303657" y="488918"/>
                  </a:lnTo>
                  <a:cubicBezTo>
                    <a:pt x="285655" y="493109"/>
                    <a:pt x="266891" y="495300"/>
                    <a:pt x="247650" y="495300"/>
                  </a:cubicBezTo>
                  <a:cubicBezTo>
                    <a:pt x="228409" y="495300"/>
                    <a:pt x="209645" y="493109"/>
                    <a:pt x="191643" y="488918"/>
                  </a:cubicBezTo>
                  <a:close/>
                  <a:moveTo>
                    <a:pt x="247650" y="142875"/>
                  </a:moveTo>
                  <a:cubicBezTo>
                    <a:pt x="189738" y="142875"/>
                    <a:pt x="142875" y="189738"/>
                    <a:pt x="142875" y="247650"/>
                  </a:cubicBezTo>
                  <a:cubicBezTo>
                    <a:pt x="142875" y="305562"/>
                    <a:pt x="189738" y="352425"/>
                    <a:pt x="247650" y="352425"/>
                  </a:cubicBezTo>
                  <a:cubicBezTo>
                    <a:pt x="305562" y="352425"/>
                    <a:pt x="352425" y="305562"/>
                    <a:pt x="352425" y="247650"/>
                  </a:cubicBezTo>
                  <a:cubicBezTo>
                    <a:pt x="352425" y="189738"/>
                    <a:pt x="305562" y="142875"/>
                    <a:pt x="247650" y="142875"/>
                  </a:cubicBezTo>
                  <a:close/>
                  <a:moveTo>
                    <a:pt x="366713" y="114300"/>
                  </a:moveTo>
                  <a:cubicBezTo>
                    <a:pt x="358807" y="114300"/>
                    <a:pt x="352425" y="120682"/>
                    <a:pt x="352425" y="128588"/>
                  </a:cubicBezTo>
                  <a:cubicBezTo>
                    <a:pt x="352425" y="136493"/>
                    <a:pt x="358807" y="142875"/>
                    <a:pt x="366713" y="142875"/>
                  </a:cubicBezTo>
                  <a:cubicBezTo>
                    <a:pt x="374618" y="142875"/>
                    <a:pt x="381000" y="136493"/>
                    <a:pt x="381000" y="128588"/>
                  </a:cubicBezTo>
                  <a:cubicBezTo>
                    <a:pt x="381000" y="120682"/>
                    <a:pt x="374618" y="114300"/>
                    <a:pt x="366713" y="114300"/>
                  </a:cubicBezTo>
                  <a:close/>
                </a:path>
              </a:pathLst>
            </a:custGeom>
            <a:solidFill>
              <a:schemeClr val="bg1"/>
            </a:solidFill>
            <a:ln>
              <a:noFill/>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sym typeface="+mn-lt"/>
              </a:endParaRPr>
            </a:p>
          </p:txBody>
        </p:sp>
        <p:sp>
          <p:nvSpPr>
            <p:cNvPr id="93" name="ïşľiḓê">
              <a:extLst>
                <a:ext uri="{FF2B5EF4-FFF2-40B4-BE49-F238E27FC236}">
                  <a16:creationId xmlns:a16="http://schemas.microsoft.com/office/drawing/2014/main" id="{083CF134-43DA-4212-A938-C5109E306E92}"/>
                </a:ext>
              </a:extLst>
            </p:cNvPr>
            <p:cNvSpPr/>
            <p:nvPr/>
          </p:nvSpPr>
          <p:spPr bwMode="auto">
            <a:xfrm>
              <a:off x="5954549" y="1762908"/>
              <a:ext cx="282901" cy="381916"/>
            </a:xfrm>
            <a:custGeom>
              <a:avLst/>
              <a:gdLst>
                <a:gd name="connsiteX0" fmla="*/ 85725 w 381000"/>
                <a:gd name="connsiteY0" fmla="*/ 38100 h 514350"/>
                <a:gd name="connsiteX1" fmla="*/ 85725 w 381000"/>
                <a:gd name="connsiteY1" fmla="*/ 57150 h 514350"/>
                <a:gd name="connsiteX2" fmla="*/ 121920 w 381000"/>
                <a:gd name="connsiteY2" fmla="*/ 95250 h 514350"/>
                <a:gd name="connsiteX3" fmla="*/ 123825 w 381000"/>
                <a:gd name="connsiteY3" fmla="*/ 95250 h 514350"/>
                <a:gd name="connsiteX4" fmla="*/ 257175 w 381000"/>
                <a:gd name="connsiteY4" fmla="*/ 95250 h 514350"/>
                <a:gd name="connsiteX5" fmla="*/ 295275 w 381000"/>
                <a:gd name="connsiteY5" fmla="*/ 59055 h 514350"/>
                <a:gd name="connsiteX6" fmla="*/ 295275 w 381000"/>
                <a:gd name="connsiteY6" fmla="*/ 57150 h 514350"/>
                <a:gd name="connsiteX7" fmla="*/ 295275 w 381000"/>
                <a:gd name="connsiteY7" fmla="*/ 38100 h 514350"/>
                <a:gd name="connsiteX8" fmla="*/ 352425 w 381000"/>
                <a:gd name="connsiteY8" fmla="*/ 38100 h 514350"/>
                <a:gd name="connsiteX9" fmla="*/ 381000 w 381000"/>
                <a:gd name="connsiteY9" fmla="*/ 66675 h 514350"/>
                <a:gd name="connsiteX10" fmla="*/ 381000 w 381000"/>
                <a:gd name="connsiteY10" fmla="*/ 485775 h 514350"/>
                <a:gd name="connsiteX11" fmla="*/ 352425 w 381000"/>
                <a:gd name="connsiteY11" fmla="*/ 514350 h 514350"/>
                <a:gd name="connsiteX12" fmla="*/ 28575 w 381000"/>
                <a:gd name="connsiteY12" fmla="*/ 514350 h 514350"/>
                <a:gd name="connsiteX13" fmla="*/ 0 w 381000"/>
                <a:gd name="connsiteY13" fmla="*/ 485775 h 514350"/>
                <a:gd name="connsiteX14" fmla="*/ 0 w 381000"/>
                <a:gd name="connsiteY14" fmla="*/ 66675 h 514350"/>
                <a:gd name="connsiteX15" fmla="*/ 28575 w 381000"/>
                <a:gd name="connsiteY15" fmla="*/ 38100 h 514350"/>
                <a:gd name="connsiteX16" fmla="*/ 85725 w 381000"/>
                <a:gd name="connsiteY16" fmla="*/ 38100 h 514350"/>
                <a:gd name="connsiteX17" fmla="*/ 190500 w 381000"/>
                <a:gd name="connsiteY17" fmla="*/ 333375 h 514350"/>
                <a:gd name="connsiteX18" fmla="*/ 76200 w 381000"/>
                <a:gd name="connsiteY18" fmla="*/ 333375 h 514350"/>
                <a:gd name="connsiteX19" fmla="*/ 76200 w 381000"/>
                <a:gd name="connsiteY19" fmla="*/ 352425 h 514350"/>
                <a:gd name="connsiteX20" fmla="*/ 190500 w 381000"/>
                <a:gd name="connsiteY20" fmla="*/ 352425 h 514350"/>
                <a:gd name="connsiteX21" fmla="*/ 190500 w 381000"/>
                <a:gd name="connsiteY21" fmla="*/ 333375 h 514350"/>
                <a:gd name="connsiteX22" fmla="*/ 304800 w 381000"/>
                <a:gd name="connsiteY22" fmla="*/ 257175 h 514350"/>
                <a:gd name="connsiteX23" fmla="*/ 76200 w 381000"/>
                <a:gd name="connsiteY23" fmla="*/ 257175 h 514350"/>
                <a:gd name="connsiteX24" fmla="*/ 76200 w 381000"/>
                <a:gd name="connsiteY24" fmla="*/ 276225 h 514350"/>
                <a:gd name="connsiteX25" fmla="*/ 304800 w 381000"/>
                <a:gd name="connsiteY25" fmla="*/ 276225 h 514350"/>
                <a:gd name="connsiteX26" fmla="*/ 304800 w 381000"/>
                <a:gd name="connsiteY26" fmla="*/ 257175 h 514350"/>
                <a:gd name="connsiteX27" fmla="*/ 304800 w 381000"/>
                <a:gd name="connsiteY27" fmla="*/ 180975 h 514350"/>
                <a:gd name="connsiteX28" fmla="*/ 76200 w 381000"/>
                <a:gd name="connsiteY28" fmla="*/ 180975 h 514350"/>
                <a:gd name="connsiteX29" fmla="*/ 76200 w 381000"/>
                <a:gd name="connsiteY29" fmla="*/ 200025 h 514350"/>
                <a:gd name="connsiteX30" fmla="*/ 304800 w 381000"/>
                <a:gd name="connsiteY30" fmla="*/ 200025 h 514350"/>
                <a:gd name="connsiteX31" fmla="*/ 304800 w 381000"/>
                <a:gd name="connsiteY31" fmla="*/ 180975 h 514350"/>
                <a:gd name="connsiteX32" fmla="*/ 247650 w 381000"/>
                <a:gd name="connsiteY32" fmla="*/ 0 h 514350"/>
                <a:gd name="connsiteX33" fmla="*/ 276225 w 381000"/>
                <a:gd name="connsiteY33" fmla="*/ 28575 h 514350"/>
                <a:gd name="connsiteX34" fmla="*/ 276225 w 381000"/>
                <a:gd name="connsiteY34" fmla="*/ 47625 h 514350"/>
                <a:gd name="connsiteX35" fmla="*/ 247650 w 381000"/>
                <a:gd name="connsiteY35" fmla="*/ 76200 h 514350"/>
                <a:gd name="connsiteX36" fmla="*/ 133350 w 381000"/>
                <a:gd name="connsiteY36" fmla="*/ 76200 h 514350"/>
                <a:gd name="connsiteX37" fmla="*/ 104775 w 381000"/>
                <a:gd name="connsiteY37" fmla="*/ 47625 h 514350"/>
                <a:gd name="connsiteX38" fmla="*/ 104775 w 381000"/>
                <a:gd name="connsiteY38" fmla="*/ 28575 h 514350"/>
                <a:gd name="connsiteX39" fmla="*/ 133350 w 381000"/>
                <a:gd name="connsiteY39" fmla="*/ 0 h 514350"/>
                <a:gd name="connsiteX40" fmla="*/ 247650 w 381000"/>
                <a:gd name="connsiteY40" fmla="*/ 0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81000" h="514350">
                  <a:moveTo>
                    <a:pt x="85725" y="38100"/>
                  </a:moveTo>
                  <a:lnTo>
                    <a:pt x="85725" y="57150"/>
                  </a:lnTo>
                  <a:cubicBezTo>
                    <a:pt x="85725" y="77534"/>
                    <a:pt x="101727" y="94202"/>
                    <a:pt x="121920" y="95250"/>
                  </a:cubicBezTo>
                  <a:lnTo>
                    <a:pt x="123825" y="95250"/>
                  </a:lnTo>
                  <a:lnTo>
                    <a:pt x="257175" y="95250"/>
                  </a:lnTo>
                  <a:cubicBezTo>
                    <a:pt x="277559" y="95250"/>
                    <a:pt x="294227" y="79248"/>
                    <a:pt x="295275" y="59055"/>
                  </a:cubicBezTo>
                  <a:lnTo>
                    <a:pt x="295275" y="57150"/>
                  </a:lnTo>
                  <a:lnTo>
                    <a:pt x="295275" y="38100"/>
                  </a:lnTo>
                  <a:lnTo>
                    <a:pt x="352425" y="38100"/>
                  </a:lnTo>
                  <a:cubicBezTo>
                    <a:pt x="368236" y="38100"/>
                    <a:pt x="381000" y="50864"/>
                    <a:pt x="381000" y="66675"/>
                  </a:cubicBezTo>
                  <a:lnTo>
                    <a:pt x="381000" y="485775"/>
                  </a:lnTo>
                  <a:cubicBezTo>
                    <a:pt x="381000" y="501587"/>
                    <a:pt x="368236" y="514350"/>
                    <a:pt x="352425" y="514350"/>
                  </a:cubicBezTo>
                  <a:lnTo>
                    <a:pt x="28575" y="514350"/>
                  </a:lnTo>
                  <a:cubicBezTo>
                    <a:pt x="12764" y="514350"/>
                    <a:pt x="0" y="501587"/>
                    <a:pt x="0" y="485775"/>
                  </a:cubicBezTo>
                  <a:lnTo>
                    <a:pt x="0" y="66675"/>
                  </a:lnTo>
                  <a:cubicBezTo>
                    <a:pt x="0" y="50864"/>
                    <a:pt x="12764" y="38100"/>
                    <a:pt x="28575" y="38100"/>
                  </a:cubicBezTo>
                  <a:lnTo>
                    <a:pt x="85725" y="38100"/>
                  </a:lnTo>
                  <a:close/>
                  <a:moveTo>
                    <a:pt x="190500" y="333375"/>
                  </a:moveTo>
                  <a:lnTo>
                    <a:pt x="76200" y="333375"/>
                  </a:lnTo>
                  <a:lnTo>
                    <a:pt x="76200" y="352425"/>
                  </a:lnTo>
                  <a:lnTo>
                    <a:pt x="190500" y="352425"/>
                  </a:lnTo>
                  <a:lnTo>
                    <a:pt x="190500" y="333375"/>
                  </a:lnTo>
                  <a:close/>
                  <a:moveTo>
                    <a:pt x="304800" y="257175"/>
                  </a:moveTo>
                  <a:lnTo>
                    <a:pt x="76200" y="257175"/>
                  </a:lnTo>
                  <a:lnTo>
                    <a:pt x="76200" y="276225"/>
                  </a:lnTo>
                  <a:lnTo>
                    <a:pt x="304800" y="276225"/>
                  </a:lnTo>
                  <a:lnTo>
                    <a:pt x="304800" y="257175"/>
                  </a:lnTo>
                  <a:close/>
                  <a:moveTo>
                    <a:pt x="304800" y="180975"/>
                  </a:moveTo>
                  <a:lnTo>
                    <a:pt x="76200" y="180975"/>
                  </a:lnTo>
                  <a:lnTo>
                    <a:pt x="76200" y="200025"/>
                  </a:lnTo>
                  <a:lnTo>
                    <a:pt x="304800" y="200025"/>
                  </a:lnTo>
                  <a:lnTo>
                    <a:pt x="304800" y="180975"/>
                  </a:lnTo>
                  <a:close/>
                  <a:moveTo>
                    <a:pt x="247650" y="0"/>
                  </a:moveTo>
                  <a:cubicBezTo>
                    <a:pt x="263461" y="0"/>
                    <a:pt x="276225" y="12763"/>
                    <a:pt x="276225" y="28575"/>
                  </a:cubicBezTo>
                  <a:lnTo>
                    <a:pt x="276225" y="47625"/>
                  </a:lnTo>
                  <a:cubicBezTo>
                    <a:pt x="276225" y="63437"/>
                    <a:pt x="263461" y="76200"/>
                    <a:pt x="247650" y="76200"/>
                  </a:cubicBezTo>
                  <a:lnTo>
                    <a:pt x="133350" y="76200"/>
                  </a:lnTo>
                  <a:cubicBezTo>
                    <a:pt x="117539" y="76200"/>
                    <a:pt x="104775" y="63437"/>
                    <a:pt x="104775" y="47625"/>
                  </a:cubicBezTo>
                  <a:lnTo>
                    <a:pt x="104775" y="28575"/>
                  </a:lnTo>
                  <a:cubicBezTo>
                    <a:pt x="104775" y="12763"/>
                    <a:pt x="117539" y="0"/>
                    <a:pt x="133350" y="0"/>
                  </a:cubicBezTo>
                  <a:lnTo>
                    <a:pt x="247650" y="0"/>
                  </a:lnTo>
                  <a:close/>
                </a:path>
              </a:pathLst>
            </a:custGeom>
            <a:solidFill>
              <a:schemeClr val="bg1"/>
            </a:solidFill>
            <a:ln>
              <a:noFill/>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sym typeface="+mn-lt"/>
              </a:endParaRPr>
            </a:p>
          </p:txBody>
        </p:sp>
      </p:grpSp>
      <p:sp>
        <p:nvSpPr>
          <p:cNvPr id="5" name="íṣľîďé">
            <a:extLst>
              <a:ext uri="{FF2B5EF4-FFF2-40B4-BE49-F238E27FC236}">
                <a16:creationId xmlns:a16="http://schemas.microsoft.com/office/drawing/2014/main" id="{0096695C-F3FF-42C1-B3CA-E4D35ABDA966}"/>
              </a:ext>
            </a:extLst>
          </p:cNvPr>
          <p:cNvSpPr txBox="1"/>
          <p:nvPr/>
        </p:nvSpPr>
        <p:spPr bwMode="auto">
          <a:xfrm>
            <a:off x="6439981" y="4472179"/>
            <a:ext cx="341750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lnSpc>
                <a:spcPct val="100000"/>
              </a:lnSpc>
              <a:spcBef>
                <a:spcPct val="0"/>
              </a:spcBef>
              <a:buFontTx/>
              <a:buNone/>
            </a:pPr>
            <a:endParaRPr lang="en-US" altLang="zh-CN" b="1" dirty="0">
              <a:sym typeface="+mn-lt"/>
            </a:endParaRPr>
          </a:p>
        </p:txBody>
      </p:sp>
      <p:sp>
        <p:nvSpPr>
          <p:cNvPr id="6" name="ïsľidè">
            <a:extLst>
              <a:ext uri="{FF2B5EF4-FFF2-40B4-BE49-F238E27FC236}">
                <a16:creationId xmlns:a16="http://schemas.microsoft.com/office/drawing/2014/main" id="{ABAF34DB-4624-4CB6-8F8B-A6C466465247}"/>
              </a:ext>
            </a:extLst>
          </p:cNvPr>
          <p:cNvSpPr/>
          <p:nvPr/>
        </p:nvSpPr>
        <p:spPr bwMode="auto">
          <a:xfrm>
            <a:off x="5702709" y="4886565"/>
            <a:ext cx="4892048" cy="1409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40000"/>
              </a:lnSpc>
            </a:pPr>
            <a:endParaRPr lang="en-US" altLang="zh-CN" sz="1100" dirty="0">
              <a:sym typeface="+mn-lt"/>
            </a:endParaRPr>
          </a:p>
        </p:txBody>
      </p:sp>
      <p:pic>
        <p:nvPicPr>
          <p:cNvPr id="8" name="图片 7">
            <a:extLst>
              <a:ext uri="{FF2B5EF4-FFF2-40B4-BE49-F238E27FC236}">
                <a16:creationId xmlns:a16="http://schemas.microsoft.com/office/drawing/2014/main" id="{09A17A9B-9BEC-4506-B2EB-B2BCB4D964CE}"/>
              </a:ext>
            </a:extLst>
          </p:cNvPr>
          <p:cNvPicPr>
            <a:picLocks noChangeAspect="1"/>
          </p:cNvPicPr>
          <p:nvPr/>
        </p:nvPicPr>
        <p:blipFill>
          <a:blip r:embed="rId4"/>
          <a:stretch>
            <a:fillRect/>
          </a:stretch>
        </p:blipFill>
        <p:spPr>
          <a:xfrm>
            <a:off x="807222" y="2101946"/>
            <a:ext cx="10926850" cy="2887645"/>
          </a:xfrm>
          <a:prstGeom prst="rect">
            <a:avLst/>
          </a:prstGeom>
        </p:spPr>
      </p:pic>
    </p:spTree>
    <p:custDataLst>
      <p:tags r:id="rId1"/>
    </p:custDataLst>
    <p:extLst>
      <p:ext uri="{BB962C8B-B14F-4D97-AF65-F5344CB8AC3E}">
        <p14:creationId xmlns:p14="http://schemas.microsoft.com/office/powerpoint/2010/main" val="3901758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ISLIDE.THEME" val="225bf695-daa2-4759-97b7-6398e4bba18c"/>
  <p:tag name="THINKCELLUNDODONOTDELETE" val="0"/>
  <p:tag name="ISLIDE.TEMPLATE" val="#477519"/>
</p:tagLst>
</file>

<file path=ppt/tags/tag10.xml><?xml version="1.0" encoding="utf-8"?>
<p:tagLst xmlns:a="http://schemas.openxmlformats.org/drawingml/2006/main" xmlns:r="http://schemas.openxmlformats.org/officeDocument/2006/relationships" xmlns:p="http://schemas.openxmlformats.org/presentationml/2006/main">
  <p:tag name="ISLIDE.ICON" val="#438743;#438744;#438747;"/>
  <p:tag name="ISLIDE.TEMPLATE" val="https://www.islide.cc;"/>
</p:tagLst>
</file>

<file path=ppt/tags/tag11.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2.xml><?xml version="1.0" encoding="utf-8"?>
<p:tagLst xmlns:a="http://schemas.openxmlformats.org/drawingml/2006/main" xmlns:r="http://schemas.openxmlformats.org/officeDocument/2006/relationships" xmlns:p="http://schemas.openxmlformats.org/presentationml/2006/main">
  <p:tag name="ISLIDE.ICON" val="#438743;#438744;#438745;"/>
  <p:tag name="ISLIDE.TEMPLATE" val="https://www.islide.cc;"/>
</p:tagLst>
</file>

<file path=ppt/tags/tag13.xml><?xml version="1.0" encoding="utf-8"?>
<p:tagLst xmlns:a="http://schemas.openxmlformats.org/drawingml/2006/main" xmlns:r="http://schemas.openxmlformats.org/officeDocument/2006/relationships" xmlns:p="http://schemas.openxmlformats.org/presentationml/2006/main">
  <p:tag name="ISLIDE.ICON" val="#438743;#438744;#438745;"/>
  <p:tag name="ISLIDE.TEMPLATE" val="https://www.islide.cc;"/>
</p:tagLst>
</file>

<file path=ppt/tags/tag14.xml><?xml version="1.0" encoding="utf-8"?>
<p:tagLst xmlns:a="http://schemas.openxmlformats.org/drawingml/2006/main" xmlns:r="http://schemas.openxmlformats.org/officeDocument/2006/relationships" xmlns:p="http://schemas.openxmlformats.org/presentationml/2006/main">
  <p:tag name="ISLIDE.ICON" val="#438743;#438744;#438745;"/>
  <p:tag name="ISLIDE.TEMPLATE" val="https://www.islide.cc;"/>
</p:tagLst>
</file>

<file path=ppt/tags/tag15.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6.xml><?xml version="1.0" encoding="utf-8"?>
<p:tagLst xmlns:a="http://schemas.openxmlformats.org/drawingml/2006/main" xmlns:r="http://schemas.openxmlformats.org/officeDocument/2006/relationships" xmlns:p="http://schemas.openxmlformats.org/presentationml/2006/main">
  <p:tag name="ISLIDE.ICON" val="#438745;#438747;#438746;"/>
  <p:tag name="ISLIDE.TEMPLATE" val="https://www.islide.cc;"/>
</p:tagLst>
</file>

<file path=ppt/tags/tag17.xml><?xml version="1.0" encoding="utf-8"?>
<p:tagLst xmlns:a="http://schemas.openxmlformats.org/drawingml/2006/main" xmlns:r="http://schemas.openxmlformats.org/officeDocument/2006/relationships" xmlns:p="http://schemas.openxmlformats.org/presentationml/2006/main">
  <p:tag name="ISLIDE.ICON" val="#438745;#438747;#438746;"/>
  <p:tag name="ISLIDE.TEMPLATE" val="https://www.islide.cc;"/>
</p:tagLst>
</file>

<file path=ppt/tags/tag18.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9.xml><?xml version="1.0" encoding="utf-8"?>
<p:tagLst xmlns:a="http://schemas.openxmlformats.org/drawingml/2006/main" xmlns:r="http://schemas.openxmlformats.org/officeDocument/2006/relationships" xmlns:p="http://schemas.openxmlformats.org/presentationml/2006/main">
  <p:tag name="ISLIDE.ICON" val="#438745;#438747;#438746;"/>
  <p:tag name="ISLIDE.TEMPLATE" val="https://www.islide.cc;"/>
</p:tagLst>
</file>

<file path=ppt/tags/tag2.xml><?xml version="1.0" encoding="utf-8"?>
<p:tagLst xmlns:a="http://schemas.openxmlformats.org/drawingml/2006/main" xmlns:r="http://schemas.openxmlformats.org/officeDocument/2006/relationships" xmlns:p="http://schemas.openxmlformats.org/presentationml/2006/main">
  <p:tag name="ISLIDE.VECTOR" val="#186220;#186256;#186220;#186256;"/>
  <p:tag name="ISLIDE.TEMPLATE" val="https://www.islide.cc;"/>
</p:tagLst>
</file>

<file path=ppt/tags/tag20.xml><?xml version="1.0" encoding="utf-8"?>
<p:tagLst xmlns:a="http://schemas.openxmlformats.org/drawingml/2006/main" xmlns:r="http://schemas.openxmlformats.org/officeDocument/2006/relationships" xmlns:p="http://schemas.openxmlformats.org/presentationml/2006/main">
  <p:tag name="ISLIDE.ICON" val="#438743;#438744;#438747;#438746;"/>
  <p:tag name="ISLIDE.TEMPLATE" val="https://www.islide.cc;"/>
</p:tagLst>
</file>

<file path=ppt/tags/tag21.xml><?xml version="1.0" encoding="utf-8"?>
<p:tagLst xmlns:a="http://schemas.openxmlformats.org/drawingml/2006/main" xmlns:r="http://schemas.openxmlformats.org/officeDocument/2006/relationships" xmlns:p="http://schemas.openxmlformats.org/presentationml/2006/main">
  <p:tag name="ISLIDE.ICON" val="#438745;#438747;#438746;"/>
  <p:tag name="ISLIDE.TEMPLATE" val="https://www.islide.cc;"/>
</p:tagLst>
</file>

<file path=ppt/tags/tag22.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23.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24.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5.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7.xml><?xml version="1.0" encoding="utf-8"?>
<p:tagLst xmlns:a="http://schemas.openxmlformats.org/drawingml/2006/main" xmlns:r="http://schemas.openxmlformats.org/officeDocument/2006/relationships" xmlns:p="http://schemas.openxmlformats.org/presentationml/2006/main">
  <p:tag name="ISLIDE.ICON" val="#438743;#438741;#438744;#438745;#438750;#438746;"/>
  <p:tag name="ISLIDE.TEMPLATE" val="https://www.islide.cc;"/>
</p:tagLst>
</file>

<file path=ppt/tags/tag8.xml><?xml version="1.0" encoding="utf-8"?>
<p:tagLst xmlns:a="http://schemas.openxmlformats.org/drawingml/2006/main" xmlns:r="http://schemas.openxmlformats.org/officeDocument/2006/relationships" xmlns:p="http://schemas.openxmlformats.org/presentationml/2006/main">
  <p:tag name="ISLIDE.ICON" val="#438743;#438741;#438744;#438745;#438750;#438746;"/>
  <p:tag name="ISLIDE.TEMPLATE" val="https://www.islide.cc;"/>
</p:tagLst>
</file>

<file path=ppt/tags/tag9.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heme/theme1.xml><?xml version="1.0" encoding="utf-8"?>
<a:theme xmlns:a="http://schemas.openxmlformats.org/drawingml/2006/main" name="主题5">
  <a:themeElements>
    <a:clrScheme name="四月主题色">
      <a:dk1>
        <a:srgbClr val="000000"/>
      </a:dk1>
      <a:lt1>
        <a:srgbClr val="FFFFFF"/>
      </a:lt1>
      <a:dk2>
        <a:srgbClr val="778495"/>
      </a:dk2>
      <a:lt2>
        <a:srgbClr val="F0F0F0"/>
      </a:lt2>
      <a:accent1>
        <a:srgbClr val="191919"/>
      </a:accent1>
      <a:accent2>
        <a:srgbClr val="FE5A2C"/>
      </a:accent2>
      <a:accent3>
        <a:srgbClr val="353A63"/>
      </a:accent3>
      <a:accent4>
        <a:srgbClr val="9A9A9A"/>
      </a:accent4>
      <a:accent5>
        <a:srgbClr val="343D74"/>
      </a:accent5>
      <a:accent6>
        <a:srgbClr val="778495"/>
      </a:accent6>
      <a:hlink>
        <a:srgbClr val="4276AA"/>
      </a:hlink>
      <a:folHlink>
        <a:srgbClr val="BFBFBF"/>
      </a:folHlink>
    </a:clrScheme>
    <a:fontScheme name="4rnqk53w">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766</TotalTime>
  <Words>2106</Words>
  <Application>Microsoft Office PowerPoint</Application>
  <PresentationFormat>宽屏</PresentationFormat>
  <Paragraphs>175</Paragraphs>
  <Slides>21</Slides>
  <Notes>21</Notes>
  <HiddenSlides>0</HiddenSlides>
  <MMClips>0</MMClips>
  <ScaleCrop>false</ScaleCrop>
  <HeadingPairs>
    <vt:vector size="8" baseType="variant">
      <vt:variant>
        <vt:lpstr>已用的字体</vt:lpstr>
      </vt:variant>
      <vt:variant>
        <vt:i4>6</vt:i4>
      </vt:variant>
      <vt:variant>
        <vt:lpstr>主题</vt:lpstr>
      </vt:variant>
      <vt:variant>
        <vt:i4>1</vt:i4>
      </vt:variant>
      <vt:variant>
        <vt:lpstr>嵌入 OLE 服务器</vt:lpstr>
      </vt:variant>
      <vt:variant>
        <vt:i4>1</vt:i4>
      </vt:variant>
      <vt:variant>
        <vt:lpstr>幻灯片标题</vt:lpstr>
      </vt:variant>
      <vt:variant>
        <vt:i4>21</vt:i4>
      </vt:variant>
    </vt:vector>
  </HeadingPairs>
  <TitlesOfParts>
    <vt:vector size="29" baseType="lpstr">
      <vt:lpstr>字魂95号-手刻宋</vt:lpstr>
      <vt:lpstr>宋体</vt:lpstr>
      <vt:lpstr>等线</vt:lpstr>
      <vt:lpstr>Arial</vt:lpstr>
      <vt:lpstr>Calibri</vt:lpstr>
      <vt:lpstr>Helvetica</vt:lpstr>
      <vt:lpstr>主题5</vt:lpstr>
      <vt:lpstr>think-cell Slide</vt:lpstr>
      <vt:lpstr>Towards developing a secure medical image sharing system based on zero trust principles and blockchain technology</vt:lpstr>
      <vt:lpstr>PowerPoint 演示文稿</vt:lpstr>
      <vt:lpstr>Background</vt:lpstr>
      <vt:lpstr>Background </vt:lpstr>
      <vt:lpstr>Problem</vt:lpstr>
      <vt:lpstr>Preliminary Knowledge</vt:lpstr>
      <vt:lpstr>Zero Trust</vt:lpstr>
      <vt:lpstr>System Model</vt:lpstr>
      <vt:lpstr>Zero trust principles</vt:lpstr>
      <vt:lpstr>Blockchain</vt:lpstr>
      <vt:lpstr>Combination of blockchain and zero trust principles</vt:lpstr>
      <vt:lpstr>Specific Construction</vt:lpstr>
      <vt:lpstr>the steps that take place when sender wants to send a file</vt:lpstr>
      <vt:lpstr>the steps that take place when receiver wants to retrieve the file</vt:lpstr>
      <vt:lpstr>Analysis</vt:lpstr>
      <vt:lpstr>Security analysis</vt:lpstr>
      <vt:lpstr>Analysis</vt:lpstr>
      <vt:lpstr>Performance analysis</vt:lpstr>
      <vt:lpstr>Conclusions</vt:lpstr>
      <vt:lpstr>Conclusions</vt:lpstr>
      <vt:lpstr>THANKS And You r Slogan Here</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Merlynr</dc:creator>
  <cp:keywords>conference</cp:keywords>
  <cp:lastModifiedBy>李 超群</cp:lastModifiedBy>
  <cp:revision>119</cp:revision>
  <cp:lastPrinted>2020-09-09T16:00:00Z</cp:lastPrinted>
  <dcterms:created xsi:type="dcterms:W3CDTF">2020-09-09T16:00:00Z</dcterms:created>
  <dcterms:modified xsi:type="dcterms:W3CDTF">2020-12-26T01:17: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iSlide.TEMPLATE">
    <vt:lpwstr>a06b6a23-ec39-4a7d-b3c3-85d051d903f2</vt:lpwstr>
  </property>
</Properties>
</file>